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tiff" ContentType="image/tiff"/>
  <Default Extension="vml" ContentType="application/vnd.openxmlformats-officedocument.vmlDrawing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795" r:id="rId4"/>
  </p:sldMasterIdLst>
  <p:notesMasterIdLst>
    <p:notesMasterId r:id="rId6"/>
  </p:notesMasterIdLst>
  <p:handoutMasterIdLst>
    <p:handoutMasterId r:id="rId7"/>
  </p:handoutMasterIdLst>
  <p:sldIdLst>
    <p:sldId id="256" r:id="rId5"/>
  </p:sldIdLst>
  <p:sldSz cx="12192000" cy="6858000"/>
  <p:notesSz cx="6858000" cy="9144000"/>
  <p:custDataLst>
    <p:tags r:id="rId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James Kerridge" initials="JK" lastIdx="2" clrIdx="0">
    <p:extLst>
      <p:ext uri="{19B8F6BF-5375-455C-9EA6-DF929625EA0E}">
        <p15:presenceInfo xmlns:p15="http://schemas.microsoft.com/office/powerpoint/2012/main" userId="97dd798e45f27531" providerId="Windows Live"/>
      </p:ext>
    </p:extLst>
  </p:cmAuthor>
  <p:cmAuthor id="2" name="Annika Vognstrup Jakobsen" initials="AVJ" lastIdx="2" clrIdx="1">
    <p:extLst>
      <p:ext uri="{19B8F6BF-5375-455C-9EA6-DF929625EA0E}">
        <p15:presenceInfo xmlns:p15="http://schemas.microsoft.com/office/powerpoint/2012/main" userId="S::annvo@arlafoods.com::07f355c2-1cc8-4e94-96f7-d2ca4e6f04c3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C3E65"/>
    <a:srgbClr val="EDA740"/>
    <a:srgbClr val="F6CB00"/>
    <a:srgbClr val="7FAC84"/>
    <a:srgbClr val="B3D0BD"/>
    <a:srgbClr val="5C9B6C"/>
    <a:srgbClr val="E4EDE5"/>
    <a:srgbClr val="F7F6F4"/>
    <a:srgbClr val="E9E3E3"/>
    <a:srgbClr val="D3CCC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0D1CEE74-6DE6-4CD8-B8EF-D2A4120E0133}" v="8" dt="2022-10-27T13:24:09.957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981" autoAdjust="0"/>
    <p:restoredTop sz="96357" autoAdjust="0"/>
  </p:normalViewPr>
  <p:slideViewPr>
    <p:cSldViewPr snapToGrid="0" snapToObjects="1">
      <p:cViewPr varScale="1">
        <p:scale>
          <a:sx n="89" d="100"/>
          <a:sy n="89" d="100"/>
        </p:scale>
        <p:origin x="1200" y="9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00" d="100"/>
        <a:sy n="100" d="100"/>
      </p:scale>
      <p:origin x="0" y="0"/>
    </p:cViewPr>
  </p:sorterViewPr>
  <p:notesViewPr>
    <p:cSldViewPr snapToGrid="0" snapToObjects="1">
      <p:cViewPr varScale="1">
        <p:scale>
          <a:sx n="94" d="100"/>
          <a:sy n="94" d="100"/>
        </p:scale>
        <p:origin x="2544" y="184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tags" Target="tags/tag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handoutMaster" Target="handoutMasters/handout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notesMaster" Target="notesMasters/notesMaster1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commentAuthors" Target="commentAuthors.xml"/><Relationship Id="rId14" Type="http://schemas.microsoft.com/office/2015/10/relationships/revisionInfo" Target="revisionInfo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024CA485-8C0F-6B48-B782-55C7086A6347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E02D0F38-6157-024B-AE60-B6CEC49840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33C7CEC7-1F0B-F846-BE55-122FBC9B1DA9}" type="datetimeFigureOut">
              <a:rPr lang="en-US" smtClean="0"/>
              <a:t>11/1/2022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86294EE-9476-2147-9A77-754A6AD4A108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585479F3-78A2-544A-9260-8B84839BB28B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C2A65AEB-A504-2F4F-A283-ECB4411D1168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67609904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A5D6A76-8AEA-F247-98D5-FFB84E6B62BD}" type="datetimeFigureOut">
              <a:rPr lang="en-GB" smtClean="0"/>
              <a:t>01/11/2022</a:t>
            </a:fld>
            <a:endParaRPr lang="en-GB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GB"/>
              <a:t>Click to edit Master text styles</a:t>
            </a:r>
          </a:p>
          <a:p>
            <a:pPr lvl="1"/>
            <a:r>
              <a:rPr lang="en-GB"/>
              <a:t>Second level</a:t>
            </a:r>
          </a:p>
          <a:p>
            <a:pPr lvl="2"/>
            <a:r>
              <a:rPr lang="en-GB"/>
              <a:t>Third level</a:t>
            </a:r>
          </a:p>
          <a:p>
            <a:pPr lvl="3"/>
            <a:r>
              <a:rPr lang="en-GB"/>
              <a:t>Fourth level</a:t>
            </a:r>
          </a:p>
          <a:p>
            <a:pPr lvl="4"/>
            <a:r>
              <a:rPr lang="en-GB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010FF97-84A9-4842-9D86-B2769D5A46A6}" type="slidenum">
              <a:rPr lang="en-GB" smtClean="0"/>
              <a:t>‹#›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77301987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34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5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B5AB637-21E7-3D49-A0F0-9C101FD9B2FC}"/>
              </a:ext>
            </a:extLst>
          </p:cNvPr>
          <p:cNvSpPr/>
          <p:nvPr userDrawn="1"/>
        </p:nvSpPr>
        <p:spPr>
          <a:xfrm>
            <a:off x="0" y="5697538"/>
            <a:ext cx="12192000" cy="1160462"/>
          </a:xfrm>
          <a:prstGeom prst="rect">
            <a:avLst/>
          </a:prstGeom>
          <a:solidFill>
            <a:srgbClr val="DBE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0F4050E5-61F5-6D49-B883-7B3135C96B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4583113" cy="5697538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8E954-0945-704B-8C9E-CEBC02D19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179984" y="451116"/>
            <a:ext cx="3852878" cy="39395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5179060" y="1160463"/>
            <a:ext cx="5488940" cy="4537076"/>
          </a:xfrm>
        </p:spPr>
        <p:txBody>
          <a:bodyPr/>
          <a:lstStyle>
            <a:lvl2pPr>
              <a:buClr>
                <a:schemeClr val="accent2"/>
              </a:buClr>
              <a:defRPr/>
            </a:lvl2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5232753-CD35-D14E-A47E-98136651677D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r>
              <a:rPr lang="en-GB" dirty="0"/>
              <a:t>For institutio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/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65034F-0FEA-0C46-A1E2-2A1C270EC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396776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1/2">
    <p:bg>
      <p:bgPr>
        <a:solidFill>
          <a:srgbClr val="E9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66EA5E6-FD71-4543-BD61-6D512660A873}"/>
              </a:ext>
            </a:extLst>
          </p:cNvPr>
          <p:cNvSpPr/>
          <p:nvPr userDrawn="1"/>
        </p:nvSpPr>
        <p:spPr>
          <a:xfrm>
            <a:off x="6096000" y="-19739"/>
            <a:ext cx="6095999" cy="6877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2" y="2276474"/>
            <a:ext cx="5476249" cy="342344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253666"/>
            <a:ext cx="5475751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1600"/>
            <a:ext cx="5475751" cy="393954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07B4866E-BD78-9C47-AE59-1FC63E9E111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548640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586B37F-3BE3-174A-AA1C-18F73F78363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94912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</p15:sldGuideLst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3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4000"/>
            <a:ext cx="10188575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018857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20" name="Text Placeholder 7">
            <a:extLst>
              <a:ext uri="{FF2B5EF4-FFF2-40B4-BE49-F238E27FC236}">
                <a16:creationId xmlns:a16="http://schemas.microsoft.com/office/drawing/2014/main" id="{35E5F371-B04C-3148-9577-A3F09662683A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86441" y="4906537"/>
            <a:ext cx="11097548" cy="249299"/>
          </a:xfrm>
        </p:spPr>
        <p:txBody>
          <a:bodyPr wrap="square">
            <a:spAutoFit/>
          </a:bodyPr>
          <a:lstStyle>
            <a:lvl1pPr algn="ctr">
              <a:defRPr sz="1800"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</p:txBody>
      </p:sp>
      <p:sp>
        <p:nvSpPr>
          <p:cNvPr id="29" name="Text Placeholder 7">
            <a:extLst>
              <a:ext uri="{FF2B5EF4-FFF2-40B4-BE49-F238E27FC236}">
                <a16:creationId xmlns:a16="http://schemas.microsoft.com/office/drawing/2014/main" id="{C1E3FA1E-2F33-1F45-BC03-24C13F3858D0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486440" y="2276475"/>
            <a:ext cx="3025775" cy="2305050"/>
          </a:xfrm>
          <a:solidFill>
            <a:schemeClr val="accent1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0" name="Text Placeholder 7">
            <a:extLst>
              <a:ext uri="{FF2B5EF4-FFF2-40B4-BE49-F238E27FC236}">
                <a16:creationId xmlns:a16="http://schemas.microsoft.com/office/drawing/2014/main" id="{0E511A01-7773-3D43-BBEA-144F78B71C64}"/>
              </a:ext>
            </a:extLst>
          </p:cNvPr>
          <p:cNvSpPr>
            <a:spLocks noGrp="1"/>
          </p:cNvSpPr>
          <p:nvPr>
            <p:ph type="body" sz="quarter" idx="27"/>
          </p:nvPr>
        </p:nvSpPr>
        <p:spPr>
          <a:xfrm>
            <a:off x="4578938" y="2276475"/>
            <a:ext cx="3025775" cy="2305050"/>
          </a:xfrm>
          <a:solidFill>
            <a:schemeClr val="accent4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1" name="Text Placeholder 7">
            <a:extLst>
              <a:ext uri="{FF2B5EF4-FFF2-40B4-BE49-F238E27FC236}">
                <a16:creationId xmlns:a16="http://schemas.microsoft.com/office/drawing/2014/main" id="{F50CE096-1AC0-B447-944E-B453106CB40A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8558213" y="2276475"/>
            <a:ext cx="3025775" cy="2305050"/>
          </a:xfrm>
          <a:solidFill>
            <a:schemeClr val="accent3"/>
          </a:solidFill>
        </p:spPr>
        <p:txBody>
          <a:bodyPr wrap="square" anchor="ctr">
            <a:noAutofit/>
          </a:bodyPr>
          <a:lstStyle>
            <a:lvl1pPr algn="ctr">
              <a:defRPr>
                <a:solidFill>
                  <a:schemeClr val="bg1"/>
                </a:solidFill>
              </a:defRPr>
            </a:lvl1pPr>
            <a:lvl2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2pPr>
            <a:lvl3pPr algn="ctr">
              <a:buClr>
                <a:schemeClr val="bg1"/>
              </a:buClr>
              <a:defRPr>
                <a:solidFill>
                  <a:schemeClr val="bg1"/>
                </a:solidFill>
              </a:defRPr>
            </a:lvl3pPr>
            <a:lvl4pPr algn="ctr">
              <a:defRPr>
                <a:solidFill>
                  <a:schemeClr val="bg1"/>
                </a:solidFill>
              </a:defRPr>
            </a:lvl4pPr>
            <a:lvl5pPr algn="ctr"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C73EDC3E-1F36-E149-B50B-8F3F8B70214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007D3C05-CF51-3741-A2CF-BE7E5B88DF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66023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4 Placehol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4000"/>
            <a:ext cx="10188575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018857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32" name="Text Placeholder 7">
            <a:extLst>
              <a:ext uri="{FF2B5EF4-FFF2-40B4-BE49-F238E27FC236}">
                <a16:creationId xmlns:a16="http://schemas.microsoft.com/office/drawing/2014/main" id="{09B8D2D0-4B02-5B44-B292-4132B122233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92410" y="3713356"/>
            <a:ext cx="2435099" cy="1984183"/>
          </a:xfrm>
        </p:spPr>
        <p:txBody>
          <a:bodyPr wrap="square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3" name="Picture Placeholder 6">
            <a:extLst>
              <a:ext uri="{FF2B5EF4-FFF2-40B4-BE49-F238E27FC236}">
                <a16:creationId xmlns:a16="http://schemas.microsoft.com/office/drawing/2014/main" id="{26BED787-96E2-A74C-A18D-3C219CCE360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486440" y="2276475"/>
            <a:ext cx="2435080" cy="1184099"/>
          </a:xfrm>
          <a:solidFill>
            <a:schemeClr val="accent3"/>
          </a:solidFill>
        </p:spPr>
        <p:txBody>
          <a:bodyPr tIns="180000" bIns="0" anchor="t">
            <a:noAutofit/>
          </a:bodyPr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4" name="Text Placeholder 7">
            <a:extLst>
              <a:ext uri="{FF2B5EF4-FFF2-40B4-BE49-F238E27FC236}">
                <a16:creationId xmlns:a16="http://schemas.microsoft.com/office/drawing/2014/main" id="{2B794F10-9972-614F-BA31-8F7FF01BA593}"/>
              </a:ext>
            </a:extLst>
          </p:cNvPr>
          <p:cNvSpPr>
            <a:spLocks noGrp="1"/>
          </p:cNvSpPr>
          <p:nvPr>
            <p:ph type="body" sz="quarter" idx="21"/>
          </p:nvPr>
        </p:nvSpPr>
        <p:spPr>
          <a:xfrm>
            <a:off x="3371933" y="3713356"/>
            <a:ext cx="2435099" cy="1984183"/>
          </a:xfrm>
        </p:spPr>
        <p:txBody>
          <a:bodyPr wrap="square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5" name="Picture Placeholder 6">
            <a:extLst>
              <a:ext uri="{FF2B5EF4-FFF2-40B4-BE49-F238E27FC236}">
                <a16:creationId xmlns:a16="http://schemas.microsoft.com/office/drawing/2014/main" id="{BD43390C-7756-8348-81C4-D7D10C659D6A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371933" y="2276475"/>
            <a:ext cx="2435080" cy="1184099"/>
          </a:xfrm>
          <a:solidFill>
            <a:srgbClr val="C4D2A4"/>
          </a:solidFill>
        </p:spPr>
        <p:txBody>
          <a:bodyPr tIns="180000" bIns="0" anchor="t">
            <a:noAutofit/>
          </a:bodyPr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6" name="Text Placeholder 7">
            <a:extLst>
              <a:ext uri="{FF2B5EF4-FFF2-40B4-BE49-F238E27FC236}">
                <a16:creationId xmlns:a16="http://schemas.microsoft.com/office/drawing/2014/main" id="{86656F50-48FD-0A4F-ADFB-9C04C046D962}"/>
              </a:ext>
            </a:extLst>
          </p:cNvPr>
          <p:cNvSpPr>
            <a:spLocks noGrp="1"/>
          </p:cNvSpPr>
          <p:nvPr>
            <p:ph type="body" sz="quarter" idx="23"/>
          </p:nvPr>
        </p:nvSpPr>
        <p:spPr>
          <a:xfrm>
            <a:off x="6257426" y="3713356"/>
            <a:ext cx="2435099" cy="1984183"/>
          </a:xfrm>
        </p:spPr>
        <p:txBody>
          <a:bodyPr wrap="square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7" name="Picture Placeholder 6">
            <a:extLst>
              <a:ext uri="{FF2B5EF4-FFF2-40B4-BE49-F238E27FC236}">
                <a16:creationId xmlns:a16="http://schemas.microsoft.com/office/drawing/2014/main" id="{A76953AB-36B7-C54C-BA75-20491B8D6791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6257426" y="2276475"/>
            <a:ext cx="2435080" cy="1184099"/>
          </a:xfrm>
          <a:solidFill>
            <a:srgbClr val="DBE6DE"/>
          </a:solidFill>
        </p:spPr>
        <p:txBody>
          <a:bodyPr tIns="180000" bIns="0" anchor="t">
            <a:noAutofit/>
          </a:bodyPr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8" name="Text Placeholder 7">
            <a:extLst>
              <a:ext uri="{FF2B5EF4-FFF2-40B4-BE49-F238E27FC236}">
                <a16:creationId xmlns:a16="http://schemas.microsoft.com/office/drawing/2014/main" id="{8AC76AD2-29EC-194F-A645-F633E69A9FD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9148889" y="3713356"/>
            <a:ext cx="2435099" cy="1984183"/>
          </a:xfrm>
        </p:spPr>
        <p:txBody>
          <a:bodyPr wrap="square">
            <a:no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9" name="Picture Placeholder 6">
            <a:extLst>
              <a:ext uri="{FF2B5EF4-FFF2-40B4-BE49-F238E27FC236}">
                <a16:creationId xmlns:a16="http://schemas.microsoft.com/office/drawing/2014/main" id="{DCFD42C0-08FE-4143-8BC3-71EB0B472700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9142919" y="2276475"/>
            <a:ext cx="2435080" cy="1184099"/>
          </a:xfrm>
          <a:solidFill>
            <a:schemeClr val="accent3"/>
          </a:solidFill>
        </p:spPr>
        <p:txBody>
          <a:bodyPr tIns="180000" bIns="0" anchor="t">
            <a:noAutofit/>
          </a:bodyPr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0" name="Text Placeholder 6">
            <a:extLst>
              <a:ext uri="{FF2B5EF4-FFF2-40B4-BE49-F238E27FC236}">
                <a16:creationId xmlns:a16="http://schemas.microsoft.com/office/drawing/2014/main" id="{6241AEA6-133D-734F-8BBF-D9B6F2A4CC6D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080223D6-1B7D-3146-A1D8-90464194B68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174832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kyline 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1800231"/>
            <a:ext cx="7074240" cy="590931"/>
          </a:xfrm>
          <a:noFill/>
        </p:spPr>
        <p:txBody>
          <a:bodyPr wrap="square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rgbClr val="DBE6DE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F99A612-00F0-0C41-AABA-0184CD8A2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1DCF0F-B7FE-7C4C-A282-9BC17FD12FBD}" type="datetime1">
              <a:rPr lang="en-GB" smtClean="0"/>
              <a:pPr/>
              <a:t>01/11/2022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B83E014-4DB6-E848-82D4-505FCCBA0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789" y="6546960"/>
            <a:ext cx="71161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B906A64-821A-B14E-94B8-0A8D614F3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96FBF6-3AD2-FF41-915E-26C66189CFB5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FE022537-442B-5F43-A435-5B73C6B05B5C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2757642-F2B1-BD4E-B244-5F50A1C9F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79622719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kyline B">
    <p:bg>
      <p:bgPr>
        <a:solidFill>
          <a:srgbClr val="D1CB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1800231"/>
            <a:ext cx="7074240" cy="590931"/>
          </a:xfrm>
          <a:solidFill>
            <a:srgbClr val="D1CBC2"/>
          </a:solidFill>
        </p:spPr>
        <p:txBody>
          <a:bodyPr wrap="square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chemeClr val="tx1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F99A612-00F0-0C41-AABA-0184CD8A2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DCF0F-B7FE-7C4C-A282-9BC17FD12FBD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B83E014-4DB6-E848-82D4-505FCCBA0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789" y="6546960"/>
            <a:ext cx="71161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B906A64-821A-B14E-94B8-0A8D614F3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96FBF6-3AD2-FF41-915E-26C66189CFB5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FE022537-442B-5F43-A435-5B73C6B05B5C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2757642-F2B1-BD4E-B244-5F50A1C9F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69501169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kyline C">
    <p:bg>
      <p:bgPr>
        <a:solidFill>
          <a:srgbClr val="D5EAF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1800231"/>
            <a:ext cx="7074240" cy="590931"/>
          </a:xfrm>
          <a:noFill/>
        </p:spPr>
        <p:txBody>
          <a:bodyPr wrap="square" anchor="t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chemeClr val="tx2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3" name="Date Placeholder 12">
            <a:extLst>
              <a:ext uri="{FF2B5EF4-FFF2-40B4-BE49-F238E27FC236}">
                <a16:creationId xmlns:a16="http://schemas.microsoft.com/office/drawing/2014/main" id="{AF99A612-00F0-0C41-AABA-0184CD8A24C4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01DCF0F-B7FE-7C4C-A282-9BC17FD12FBD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Footer Placeholder 13">
            <a:extLst>
              <a:ext uri="{FF2B5EF4-FFF2-40B4-BE49-F238E27FC236}">
                <a16:creationId xmlns:a16="http://schemas.microsoft.com/office/drawing/2014/main" id="{CB83E014-4DB6-E848-82D4-505FCCBA0F35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92789" y="6546960"/>
            <a:ext cx="7116100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6B906A64-821A-B14E-94B8-0A8D614F37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grpSp>
        <p:nvGrpSpPr>
          <p:cNvPr id="19" name="Group 18">
            <a:extLst>
              <a:ext uri="{FF2B5EF4-FFF2-40B4-BE49-F238E27FC236}">
                <a16:creationId xmlns:a16="http://schemas.microsoft.com/office/drawing/2014/main" id="{7B96FBF6-3AD2-FF41-915E-26C66189CFB5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20" name="Freeform 19">
              <a:extLst>
                <a:ext uri="{FF2B5EF4-FFF2-40B4-BE49-F238E27FC236}">
                  <a16:creationId xmlns:a16="http://schemas.microsoft.com/office/drawing/2014/main" id="{FE022537-442B-5F43-A435-5B73C6B05B5C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21" name="Picture 20">
              <a:extLst>
                <a:ext uri="{FF2B5EF4-FFF2-40B4-BE49-F238E27FC236}">
                  <a16:creationId xmlns:a16="http://schemas.microsoft.com/office/drawing/2014/main" id="{92757642-F2B1-BD4E-B244-5F50A1C9F98E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40463853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nel A">
    <p:bg>
      <p:bgPr>
        <a:solidFill>
          <a:srgbClr val="C4D2A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1" cy="4581524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34807"/>
            <a:ext cx="10133352" cy="590931"/>
          </a:xfrm>
          <a:noFill/>
        </p:spPr>
        <p:txBody>
          <a:bodyPr wrap="square" anchor="ctr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chemeClr val="accent2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CB4EA9-C561-7443-AA02-9CBC62470F5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2DDFEB7-5F61-FA42-B872-82F07F0C8D7D}" type="datetime1">
              <a:rPr lang="en-GB" smtClean="0"/>
              <a:t>01/11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830186-AA40-C849-BC78-D0A1B2B72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150B1-EFE3-D141-8846-E4CBDE9707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472B0D-3E3F-C34C-8B65-C339B213E5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7115845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nel B">
    <p:bg>
      <p:bgPr>
        <a:solidFill>
          <a:srgbClr val="D1CB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1"/>
            <a:ext cx="12192001" cy="4581524"/>
          </a:xfrm>
          <a:solidFill>
            <a:srgbClr val="E9E4E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34807"/>
            <a:ext cx="10133352" cy="590931"/>
          </a:xfrm>
          <a:noFill/>
        </p:spPr>
        <p:txBody>
          <a:bodyPr wrap="square" anchor="ctr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chemeClr val="tx1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CB4EA9-C561-7443-AA02-9CBC62470F5F}"/>
              </a:ext>
            </a:extLst>
          </p:cNvPr>
          <p:cNvSpPr>
            <a:spLocks noGrp="1"/>
          </p:cNvSpPr>
          <p:nvPr>
            <p:ph type="dt" sz="half" idx="11"/>
          </p:nvPr>
        </p:nvSpPr>
        <p:spPr/>
        <p:txBody>
          <a:bodyPr/>
          <a:lstStyle/>
          <a:p>
            <a:fld id="{62DDFEB7-5F61-FA42-B872-82F07F0C8D7D}" type="datetime1">
              <a:rPr lang="en-GB" smtClean="0"/>
              <a:t>01/11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830186-AA40-C849-BC78-D0A1B2B72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150B1-EFE3-D141-8846-E4CBDE9707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A2472B0D-3E3F-C34C-8B65-C339B213E51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90161673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Panel C">
    <p:bg>
      <p:bgPr>
        <a:solidFill>
          <a:srgbClr val="D6EA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1" y="1"/>
            <a:ext cx="7608887" cy="4581524"/>
          </a:xfrm>
          <a:solidFill>
            <a:srgbClr val="EAF2FA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34807"/>
            <a:ext cx="10133352" cy="590931"/>
          </a:xfrm>
          <a:noFill/>
        </p:spPr>
        <p:txBody>
          <a:bodyPr wrap="square" anchor="ctr">
            <a:spAutoFit/>
          </a:bodyPr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4800" b="1" kern="1200" cap="all" baseline="0" dirty="0">
                <a:solidFill>
                  <a:schemeClr val="tx2"/>
                </a:solidFill>
                <a:latin typeface="ARLA STRONG" pitchFamily="2" charset="0"/>
                <a:ea typeface="+mj-ea"/>
                <a:cs typeface="+mj-cs"/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D3CB4EA9-C561-7443-AA02-9CBC62470F5F}"/>
              </a:ext>
            </a:extLst>
          </p:cNvPr>
          <p:cNvSpPr>
            <a:spLocks noGrp="1"/>
          </p:cNvSpPr>
          <p:nvPr>
            <p:ph type="dt" sz="half" idx="11"/>
          </p:nvPr>
        </p:nvSpPr>
        <p:spPr>
          <a:xfrm rot="5400000">
            <a:off x="11627450" y="429316"/>
            <a:ext cx="990600" cy="153888"/>
          </a:xfrm>
        </p:spPr>
        <p:txBody>
          <a:bodyPr/>
          <a:lstStyle>
            <a:lvl1pPr>
              <a:defRPr sz="1000"/>
            </a:lvl1pPr>
          </a:lstStyle>
          <a:p>
            <a:fld id="{62DDFEB7-5F61-FA42-B872-82F07F0C8D7D}" type="datetime1">
              <a:rPr lang="en-GB" smtClean="0"/>
              <a:pPr/>
              <a:t>01/11/2022</a:t>
            </a:fld>
            <a:endParaRPr lang="en-GB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8E830186-AA40-C849-BC78-D0A1B2B72F3F}"/>
              </a:ext>
            </a:extLst>
          </p:cNvPr>
          <p:cNvSpPr>
            <a:spLocks noGrp="1"/>
          </p:cNvSpPr>
          <p:nvPr>
            <p:ph type="ftr" sz="quarter" idx="12"/>
          </p:nvPr>
        </p:nvSpPr>
        <p:spPr/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F3150B1-EFE3-D141-8846-E4CBDE9707C4}"/>
              </a:ext>
            </a:extLst>
          </p:cNvPr>
          <p:cNvSpPr>
            <a:spLocks noGrp="1"/>
          </p:cNvSpPr>
          <p:nvPr>
            <p:ph type="sldNum" sz="quarter" idx="13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D3730B12-0A3C-334F-953D-62BD75194634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7608888" y="1"/>
            <a:ext cx="4583111" cy="2276474"/>
          </a:xfrm>
          <a:solidFill>
            <a:srgbClr val="D6E5F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79A4F884-E287-0842-929F-32E6DF4CC47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608888" y="2276475"/>
            <a:ext cx="4583111" cy="2316820"/>
          </a:xfrm>
          <a:solidFill>
            <a:schemeClr val="bg1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7E55E8A6-E3E2-8F41-AE75-D3BAF63177D0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5025979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Coll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FA868041-0B43-6343-9D95-38633A1F7340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9156700" y="4581524"/>
            <a:ext cx="3035300" cy="2276475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 b="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3" y="2276475"/>
            <a:ext cx="5331282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5316996" cy="138499"/>
          </a:xfrm>
        </p:spPr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D7DCA9E0-D02A-3C4B-BF89-FB76E96FF1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4581525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0DB4AD0C-87D3-4D4F-A7DA-91DAF2BE7D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404000"/>
            <a:ext cx="5330360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F7DCC6-1125-5B4F-A7F6-0969487F6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470434"/>
            <a:ext cx="5330360" cy="6894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F5987CCB-B019-914C-81EA-4A8D177D5F4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096000" y="4581525"/>
            <a:ext cx="3060700" cy="2290762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CD09C77A-C311-7344-8225-A4CC6F68EC3C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532080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71EAC3D0-1F3E-C648-BD4E-9D8EE9FA664E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2012978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with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Rectangle 14">
            <a:extLst>
              <a:ext uri="{FF2B5EF4-FFF2-40B4-BE49-F238E27FC236}">
                <a16:creationId xmlns:a16="http://schemas.microsoft.com/office/drawing/2014/main" id="{18DA3CCC-324F-9445-9D89-75278AD373BC}"/>
              </a:ext>
            </a:extLst>
          </p:cNvPr>
          <p:cNvSpPr/>
          <p:nvPr userDrawn="1"/>
        </p:nvSpPr>
        <p:spPr>
          <a:xfrm>
            <a:off x="0" y="-1"/>
            <a:ext cx="12192000" cy="1337481"/>
          </a:xfrm>
          <a:prstGeom prst="rect">
            <a:avLst/>
          </a:prstGeom>
          <a:solidFill>
            <a:srgbClr val="DBE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2" y="2276474"/>
            <a:ext cx="10189498" cy="342344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 dirty="0"/>
              <a:t>For institutio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5158"/>
            <a:ext cx="10188575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018857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2D83FC1-0F61-B54B-839E-E59A71FB93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DA3159-D477-4C44-B116-222DA7955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88163630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ran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4025590"/>
            <a:ext cx="6096000" cy="2832409"/>
          </a:xfrm>
          <a:solidFill>
            <a:srgbClr val="BAD4BE"/>
          </a:solidFill>
        </p:spPr>
        <p:txBody>
          <a:bodyPr lIns="720000" rIns="72000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7" name="Text Placeholder 9">
            <a:extLst>
              <a:ext uri="{FF2B5EF4-FFF2-40B4-BE49-F238E27FC236}">
                <a16:creationId xmlns:a16="http://schemas.microsoft.com/office/drawing/2014/main" id="{DBF460BE-A3AC-C74A-8724-9D30AFA5579E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108700" y="4025591"/>
            <a:ext cx="6096000" cy="2832409"/>
          </a:xfrm>
          <a:solidFill>
            <a:schemeClr val="bg1"/>
          </a:solidFill>
        </p:spPr>
        <p:txBody>
          <a:bodyPr lIns="720000" rIns="72000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E8541D-AAF2-7D48-9FF0-FF9463E4C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0"/>
            <a:ext cx="12191999" cy="1160463"/>
          </a:xfrm>
          <a:solidFill>
            <a:srgbClr val="DCE6DE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24" name="Text Placeholder 9">
            <a:extLst>
              <a:ext uri="{FF2B5EF4-FFF2-40B4-BE49-F238E27FC236}">
                <a16:creationId xmlns:a16="http://schemas.microsoft.com/office/drawing/2014/main" id="{EFC55E75-0FA7-5D40-B3F9-0E3348A68483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0" y="1160463"/>
            <a:ext cx="6096000" cy="2865127"/>
          </a:xfrm>
          <a:solidFill>
            <a:schemeClr val="bg1"/>
          </a:solidFill>
        </p:spPr>
        <p:txBody>
          <a:bodyPr lIns="720000" rIns="72000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25" name="Text Placeholder 9">
            <a:extLst>
              <a:ext uri="{FF2B5EF4-FFF2-40B4-BE49-F238E27FC236}">
                <a16:creationId xmlns:a16="http://schemas.microsoft.com/office/drawing/2014/main" id="{F6F9E4DE-9638-CC48-95A0-7490177EAF6E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108700" y="1160464"/>
            <a:ext cx="6096000" cy="2865127"/>
          </a:xfrm>
          <a:solidFill>
            <a:srgbClr val="BAD4BE"/>
          </a:solidFill>
        </p:spPr>
        <p:txBody>
          <a:bodyPr lIns="720000" rIns="720000" anchor="ctr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7E8DD00D-7E6D-CF40-ACD3-E8F24A116C4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2042211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910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s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rgbClr val="B9D5BD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A1AEDDFA-D723-174C-B289-0E890752D4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170638"/>
            <a:ext cx="12192000" cy="1105837"/>
          </a:xfrm>
          <a:solidFill>
            <a:schemeClr val="bg1"/>
          </a:solidFill>
        </p:spPr>
        <p:txBody>
          <a:bodyPr lIns="360000" rIns="360000" anchor="ctr"/>
          <a:lstStyle>
            <a:lvl1pPr algn="ctr">
              <a:spcBef>
                <a:spcPts val="0"/>
              </a:spcBef>
              <a:defRPr sz="1800" b="1" i="0">
                <a:solidFill>
                  <a:schemeClr val="accent1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01BD8271-44B5-1246-897F-5D3628BDCC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2276475"/>
            <a:ext cx="4079875" cy="230505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4EF65378-3CFD-BD45-A0E5-2AC45BD5F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79876" y="2276475"/>
            <a:ext cx="4032250" cy="2305050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9D44A69-745D-F449-B3A9-068236CCA89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112125" y="2276475"/>
            <a:ext cx="4079875" cy="230505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49E7B7-FEA5-E04D-BB72-D25986E1055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-1" y="4581525"/>
            <a:ext cx="4079873" cy="2305050"/>
          </a:xfrm>
          <a:noFill/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627E519-8C7F-2A44-9DF3-D74B6838D0E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12124" y="4581525"/>
            <a:ext cx="4079877" cy="2305050"/>
          </a:xfrm>
          <a:noFill/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7FEE3AD-1CDB-3D43-BC2C-825595D2E73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079874" y="4581525"/>
            <a:ext cx="4032249" cy="2305050"/>
          </a:xfrm>
          <a:solidFill>
            <a:srgbClr val="B9D5BD"/>
          </a:solidFill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44418D94-C035-374E-A20F-417802E2BBA7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8761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960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irds B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6" name="Picture Placeholder 7">
            <a:extLst>
              <a:ext uri="{FF2B5EF4-FFF2-40B4-BE49-F238E27FC236}">
                <a16:creationId xmlns:a16="http://schemas.microsoft.com/office/drawing/2014/main" id="{01BD8271-44B5-1246-897F-5D3628BDCCB5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0" y="1174707"/>
            <a:ext cx="4079875" cy="2254293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7" name="Picture Placeholder 7">
            <a:extLst>
              <a:ext uri="{FF2B5EF4-FFF2-40B4-BE49-F238E27FC236}">
                <a16:creationId xmlns:a16="http://schemas.microsoft.com/office/drawing/2014/main" id="{4EF65378-3CFD-BD45-A0E5-2AC45BD5F052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4079876" y="1174707"/>
            <a:ext cx="4032250" cy="2254293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24" name="Picture Placeholder 7">
            <a:extLst>
              <a:ext uri="{FF2B5EF4-FFF2-40B4-BE49-F238E27FC236}">
                <a16:creationId xmlns:a16="http://schemas.microsoft.com/office/drawing/2014/main" id="{59D44A69-745D-F449-B3A9-068236CCA896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8112125" y="1174707"/>
            <a:ext cx="4079875" cy="2254293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E49E7B7-FEA5-E04D-BB72-D25986E1055F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-1" y="3448760"/>
            <a:ext cx="4079873" cy="2821031"/>
          </a:xfrm>
          <a:noFill/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25" name="Text Placeholder 2">
            <a:extLst>
              <a:ext uri="{FF2B5EF4-FFF2-40B4-BE49-F238E27FC236}">
                <a16:creationId xmlns:a16="http://schemas.microsoft.com/office/drawing/2014/main" id="{C627E519-8C7F-2A44-9DF3-D74B6838D0E0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8112124" y="3479756"/>
            <a:ext cx="4079877" cy="2821031"/>
          </a:xfrm>
          <a:noFill/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26" name="Text Placeholder 2">
            <a:extLst>
              <a:ext uri="{FF2B5EF4-FFF2-40B4-BE49-F238E27FC236}">
                <a16:creationId xmlns:a16="http://schemas.microsoft.com/office/drawing/2014/main" id="{37FEE3AD-1CDB-3D43-BC2C-825595D2E738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4079874" y="3429000"/>
            <a:ext cx="4032249" cy="3429000"/>
          </a:xfrm>
          <a:solidFill>
            <a:srgbClr val="B9D5BD"/>
          </a:solidFill>
        </p:spPr>
        <p:txBody>
          <a:bodyPr lIns="360000" tIns="180000" rIns="360000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E2A140FE-8003-7448-A0DF-90E68CDF82A8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259041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2" pos="960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s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rgbClr val="DBE6DE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A1AEDDFA-D723-174C-B289-0E890752D4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170639"/>
            <a:ext cx="12192000" cy="1105836"/>
          </a:xfrm>
          <a:solidFill>
            <a:schemeClr val="bg1"/>
          </a:solidFill>
        </p:spPr>
        <p:txBody>
          <a:bodyPr lIns="360000" rIns="360000" anchor="ctr"/>
          <a:lstStyle>
            <a:lvl1pPr algn="ctr">
              <a:spcBef>
                <a:spcPts val="0"/>
              </a:spcBef>
              <a:defRPr sz="1800" b="1" i="0">
                <a:solidFill>
                  <a:schemeClr val="accent1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3D510873-D13B-2B47-B66B-3483AF99ED6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-11114" y="2276475"/>
            <a:ext cx="3046414" cy="230505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07D18D8F-A68B-2D45-A2B3-9C893929160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35299" y="2276475"/>
            <a:ext cx="3067969" cy="2305050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87089932-0DBB-2A4D-9C84-644BD4A09BC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2276475"/>
            <a:ext cx="3071812" cy="230505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14D5B3D8-E940-5E49-8160-DCC3896513D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56700" y="2276475"/>
            <a:ext cx="3035300" cy="2305050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B5B33DA-CB70-2E4A-9444-B48A269B7FE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-1" y="4581525"/>
            <a:ext cx="3042569" cy="230505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1215B06-365D-B146-BBE5-56B92CAC5BF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35300" y="4581525"/>
            <a:ext cx="3060700" cy="230505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B1C4F45-9852-6044-B125-EC52B9CDFCE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0" y="4581525"/>
            <a:ext cx="3053432" cy="230505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67AFB82-2968-6247-8883-D372B13A9A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49432" y="4581525"/>
            <a:ext cx="3035300" cy="2305050"/>
          </a:xfrm>
          <a:noFill/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 dirty="0"/>
              <a:t>For institutional use only</a:t>
            </a:r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74C046D8-0BA3-BA4F-9599-41507D6942C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7996374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s B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29" name="Picture Placeholder 7">
            <a:extLst>
              <a:ext uri="{FF2B5EF4-FFF2-40B4-BE49-F238E27FC236}">
                <a16:creationId xmlns:a16="http://schemas.microsoft.com/office/drawing/2014/main" id="{3D510873-D13B-2B47-B66B-3483AF99ED61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-11114" y="1173600"/>
            <a:ext cx="3046414" cy="225540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0" name="Picture Placeholder 7">
            <a:extLst>
              <a:ext uri="{FF2B5EF4-FFF2-40B4-BE49-F238E27FC236}">
                <a16:creationId xmlns:a16="http://schemas.microsoft.com/office/drawing/2014/main" id="{07D18D8F-A68B-2D45-A2B3-9C893929160D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3035299" y="1173600"/>
            <a:ext cx="3067969" cy="2255400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87089932-0DBB-2A4D-9C84-644BD4A09BC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1173600"/>
            <a:ext cx="3071812" cy="225540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14D5B3D8-E940-5E49-8160-DCC3896513D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56700" y="1173600"/>
            <a:ext cx="3035300" cy="2255400"/>
          </a:xfrm>
          <a:solidFill>
            <a:schemeClr val="accent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4" name="Text Placeholder 2">
            <a:extLst>
              <a:ext uri="{FF2B5EF4-FFF2-40B4-BE49-F238E27FC236}">
                <a16:creationId xmlns:a16="http://schemas.microsoft.com/office/drawing/2014/main" id="{2B5B33DA-CB70-2E4A-9444-B48A269B7FE2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-1" y="3429000"/>
            <a:ext cx="3042569" cy="342900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5" name="Text Placeholder 2">
            <a:extLst>
              <a:ext uri="{FF2B5EF4-FFF2-40B4-BE49-F238E27FC236}">
                <a16:creationId xmlns:a16="http://schemas.microsoft.com/office/drawing/2014/main" id="{61215B06-365D-B146-BBE5-56B92CAC5BF4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3035300" y="3429000"/>
            <a:ext cx="3060700" cy="291465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6" name="Text Placeholder 2">
            <a:extLst>
              <a:ext uri="{FF2B5EF4-FFF2-40B4-BE49-F238E27FC236}">
                <a16:creationId xmlns:a16="http://schemas.microsoft.com/office/drawing/2014/main" id="{5B1C4F45-9852-6044-B125-EC52B9CDFCE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0" y="3429000"/>
            <a:ext cx="3053432" cy="342900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37" name="Text Placeholder 2">
            <a:extLst>
              <a:ext uri="{FF2B5EF4-FFF2-40B4-BE49-F238E27FC236}">
                <a16:creationId xmlns:a16="http://schemas.microsoft.com/office/drawing/2014/main" id="{867AFB82-2968-6247-8883-D372B13A9A59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49432" y="3429000"/>
            <a:ext cx="3035300" cy="2914650"/>
          </a:xfrm>
          <a:noFill/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78BEBAB2-5FCD-0748-82C0-217236B6708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91184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s C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0265EEC-3A7C-3B49-A2E8-6FAC657E9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2276474"/>
            <a:ext cx="6096000" cy="4581526"/>
          </a:xfrm>
          <a:solidFill>
            <a:schemeClr val="bg1"/>
          </a:solidFill>
        </p:spPr>
        <p:txBody>
          <a:bodyPr lIns="360000" tIns="360000" rIns="360000" bIns="36000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D5EF36C-51D8-FF47-8E30-029B72432DD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49432" y="5681277"/>
            <a:ext cx="3035300" cy="1205298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3253C04-EA8C-5C41-89BF-B6428F17F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37825"/>
            <a:ext cx="508000" cy="339598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rgbClr val="B9D5BD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A1AEDDFA-D723-174C-B289-0E890752D4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170639"/>
            <a:ext cx="12192000" cy="1105836"/>
          </a:xfrm>
          <a:solidFill>
            <a:schemeClr val="bg1"/>
          </a:solidFill>
        </p:spPr>
        <p:txBody>
          <a:bodyPr lIns="360000" rIns="360000" anchor="ctr"/>
          <a:lstStyle>
            <a:lvl1pPr algn="ctr">
              <a:spcBef>
                <a:spcPts val="0"/>
              </a:spcBef>
              <a:defRPr sz="1800" b="1" i="0">
                <a:solidFill>
                  <a:schemeClr val="accent1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87089932-0DBB-2A4D-9C84-644BD4A09BC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2276475"/>
            <a:ext cx="3071812" cy="3404802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14D5B3D8-E940-5E49-8160-DCC3896513D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56700" y="2276475"/>
            <a:ext cx="3035300" cy="3404802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86AD74A-BF4B-D64F-AD95-06056D3E233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0" y="5681277"/>
            <a:ext cx="3053432" cy="1176723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accent4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accent4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646306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rters D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AD5EF36C-51D8-FF47-8E30-029B72432DD3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149432" y="5697538"/>
            <a:ext cx="3035300" cy="1160462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18" name="Picture 17">
            <a:extLst>
              <a:ext uri="{FF2B5EF4-FFF2-40B4-BE49-F238E27FC236}">
                <a16:creationId xmlns:a16="http://schemas.microsoft.com/office/drawing/2014/main" id="{93253C04-EA8C-5C41-89BF-B6428F17F62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37825"/>
            <a:ext cx="508000" cy="339598"/>
          </a:xfrm>
          <a:prstGeom prst="rect">
            <a:avLst/>
          </a:prstGeom>
        </p:spPr>
      </p:pic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31" name="Picture Placeholder 7">
            <a:extLst>
              <a:ext uri="{FF2B5EF4-FFF2-40B4-BE49-F238E27FC236}">
                <a16:creationId xmlns:a16="http://schemas.microsoft.com/office/drawing/2014/main" id="{87089932-0DBB-2A4D-9C84-644BD4A09BC7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6096000" y="1173599"/>
            <a:ext cx="3071812" cy="4523939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2" name="Picture Placeholder 7">
            <a:extLst>
              <a:ext uri="{FF2B5EF4-FFF2-40B4-BE49-F238E27FC236}">
                <a16:creationId xmlns:a16="http://schemas.microsoft.com/office/drawing/2014/main" id="{14D5B3D8-E940-5E49-8160-DCC3896513D9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9156700" y="1173600"/>
            <a:ext cx="3035300" cy="4523938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6" name="Text Placeholder 9">
            <a:extLst>
              <a:ext uri="{FF2B5EF4-FFF2-40B4-BE49-F238E27FC236}">
                <a16:creationId xmlns:a16="http://schemas.microsoft.com/office/drawing/2014/main" id="{F0265EEC-3A7C-3B49-A2E8-6FAC657E97AC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0" y="1173600"/>
            <a:ext cx="6096000" cy="5684400"/>
          </a:xfrm>
          <a:solidFill>
            <a:schemeClr val="bg1"/>
          </a:solidFill>
        </p:spPr>
        <p:txBody>
          <a:bodyPr lIns="360000" tIns="360000" rIns="360000" bIns="360000"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486AD74A-BF4B-D64F-AD95-06056D3E233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6096000" y="5697538"/>
            <a:ext cx="3053432" cy="1160461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accent4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accent4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0856223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s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7240B8EF-C52D-C040-8B92-676B59DBB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-11114" y="2253454"/>
            <a:ext cx="2469984" cy="2328072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D5A1B3BB-9B54-1948-A02D-03879E69906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58870" y="2253454"/>
            <a:ext cx="2458869" cy="2328072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126ACD82-12F4-E942-A6A9-A29B180A142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908550" y="2253454"/>
            <a:ext cx="2426072" cy="2328071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9" name="Picture Placeholder 7">
            <a:extLst>
              <a:ext uri="{FF2B5EF4-FFF2-40B4-BE49-F238E27FC236}">
                <a16:creationId xmlns:a16="http://schemas.microsoft.com/office/drawing/2014/main" id="{A62B835F-6E89-444A-A5E4-E0B9654D448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325434" y="2253454"/>
            <a:ext cx="2449680" cy="2328072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D7E28298-207A-E149-BD6D-22EDC6CE713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773041" y="2253454"/>
            <a:ext cx="2426072" cy="2328072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rgbClr val="B9D5BD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5" name="Text Placeholder 18">
            <a:extLst>
              <a:ext uri="{FF2B5EF4-FFF2-40B4-BE49-F238E27FC236}">
                <a16:creationId xmlns:a16="http://schemas.microsoft.com/office/drawing/2014/main" id="{A1AEDDFA-D723-174C-B289-0E890752D477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0" y="1170638"/>
            <a:ext cx="12192000" cy="1105837"/>
          </a:xfrm>
          <a:solidFill>
            <a:schemeClr val="bg1"/>
          </a:solidFill>
        </p:spPr>
        <p:txBody>
          <a:bodyPr lIns="360000" rIns="360000" anchor="ctr"/>
          <a:lstStyle>
            <a:lvl1pPr algn="ctr">
              <a:spcBef>
                <a:spcPts val="0"/>
              </a:spcBef>
              <a:defRPr sz="1800" b="1" i="0">
                <a:solidFill>
                  <a:schemeClr val="accent1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B9C93AE-53D8-E847-8F4E-21290AC097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0" y="4581525"/>
            <a:ext cx="2449680" cy="230505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1430089-397E-D446-B75F-12EE0DD493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906477" y="4581525"/>
            <a:ext cx="2418957" cy="230505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5851B05-2506-5B46-B129-5CAF65D7804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773041" y="4581525"/>
            <a:ext cx="2409768" cy="230505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9356F5B-9938-CA48-8314-47C11F07B9B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449680" y="4581525"/>
            <a:ext cx="2456796" cy="230505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7001203-3AEC-9D4C-9749-FC57EB97E0C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25434" y="4581525"/>
            <a:ext cx="2447607" cy="230505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9" name="Picture 18">
            <a:extLst>
              <a:ext uri="{FF2B5EF4-FFF2-40B4-BE49-F238E27FC236}">
                <a16:creationId xmlns:a16="http://schemas.microsoft.com/office/drawing/2014/main" id="{E9700065-14E5-6D45-9A9A-837CFF4561D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161023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fths B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Picture Placeholder 7">
            <a:extLst>
              <a:ext uri="{FF2B5EF4-FFF2-40B4-BE49-F238E27FC236}">
                <a16:creationId xmlns:a16="http://schemas.microsoft.com/office/drawing/2014/main" id="{7240B8EF-C52D-C040-8B92-676B59DBB1D7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-11114" y="1173600"/>
            <a:ext cx="2469984" cy="225540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7" name="Picture Placeholder 7">
            <a:extLst>
              <a:ext uri="{FF2B5EF4-FFF2-40B4-BE49-F238E27FC236}">
                <a16:creationId xmlns:a16="http://schemas.microsoft.com/office/drawing/2014/main" id="{D5A1B3BB-9B54-1948-A02D-03879E69906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2458870" y="1173600"/>
            <a:ext cx="2458869" cy="2255400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8" name="Picture Placeholder 7">
            <a:extLst>
              <a:ext uri="{FF2B5EF4-FFF2-40B4-BE49-F238E27FC236}">
                <a16:creationId xmlns:a16="http://schemas.microsoft.com/office/drawing/2014/main" id="{126ACD82-12F4-E942-A6A9-A29B180A1422}"/>
              </a:ext>
            </a:extLst>
          </p:cNvPr>
          <p:cNvSpPr>
            <a:spLocks noGrp="1"/>
          </p:cNvSpPr>
          <p:nvPr>
            <p:ph type="pic" sz="quarter" idx="29"/>
          </p:nvPr>
        </p:nvSpPr>
        <p:spPr>
          <a:xfrm>
            <a:off x="4908550" y="1173601"/>
            <a:ext cx="2426072" cy="225540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39" name="Picture Placeholder 7">
            <a:extLst>
              <a:ext uri="{FF2B5EF4-FFF2-40B4-BE49-F238E27FC236}">
                <a16:creationId xmlns:a16="http://schemas.microsoft.com/office/drawing/2014/main" id="{A62B835F-6E89-444A-A5E4-E0B9654D4480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7325434" y="1173600"/>
            <a:ext cx="2449680" cy="2255400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41" name="Picture Placeholder 7">
            <a:extLst>
              <a:ext uri="{FF2B5EF4-FFF2-40B4-BE49-F238E27FC236}">
                <a16:creationId xmlns:a16="http://schemas.microsoft.com/office/drawing/2014/main" id="{D7E28298-207A-E149-BD6D-22EDC6CE713C}"/>
              </a:ext>
            </a:extLst>
          </p:cNvPr>
          <p:cNvSpPr>
            <a:spLocks noGrp="1"/>
          </p:cNvSpPr>
          <p:nvPr>
            <p:ph type="pic" sz="quarter" idx="32"/>
          </p:nvPr>
        </p:nvSpPr>
        <p:spPr>
          <a:xfrm>
            <a:off x="9773041" y="1173600"/>
            <a:ext cx="2426072" cy="225540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67570FF6-DD48-5F4E-8CFC-FCD3947D2C2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0" y="-1"/>
            <a:ext cx="12192000" cy="1170639"/>
          </a:xfrm>
          <a:solidFill>
            <a:schemeClr val="bg1"/>
          </a:solidFill>
        </p:spPr>
        <p:txBody>
          <a:bodyPr anchor="ctr">
            <a:noAutofit/>
          </a:bodyPr>
          <a:lstStyle>
            <a:lvl1pPr algn="ctr"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43" name="Text Placeholder 2">
            <a:extLst>
              <a:ext uri="{FF2B5EF4-FFF2-40B4-BE49-F238E27FC236}">
                <a16:creationId xmlns:a16="http://schemas.microsoft.com/office/drawing/2014/main" id="{5B9C93AE-53D8-E847-8F4E-21290AC097DF}"/>
              </a:ext>
            </a:extLst>
          </p:cNvPr>
          <p:cNvSpPr>
            <a:spLocks noGrp="1"/>
          </p:cNvSpPr>
          <p:nvPr>
            <p:ph type="body" sz="quarter" idx="31"/>
          </p:nvPr>
        </p:nvSpPr>
        <p:spPr>
          <a:xfrm>
            <a:off x="0" y="3429000"/>
            <a:ext cx="2449680" cy="342900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4" name="Text Placeholder 2">
            <a:extLst>
              <a:ext uri="{FF2B5EF4-FFF2-40B4-BE49-F238E27FC236}">
                <a16:creationId xmlns:a16="http://schemas.microsoft.com/office/drawing/2014/main" id="{11430089-397E-D446-B75F-12EE0DD49308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4906477" y="3429000"/>
            <a:ext cx="2418957" cy="342900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5" name="Text Placeholder 2">
            <a:extLst>
              <a:ext uri="{FF2B5EF4-FFF2-40B4-BE49-F238E27FC236}">
                <a16:creationId xmlns:a16="http://schemas.microsoft.com/office/drawing/2014/main" id="{25851B05-2506-5B46-B129-5CAF65D78047}"/>
              </a:ext>
            </a:extLst>
          </p:cNvPr>
          <p:cNvSpPr>
            <a:spLocks noGrp="1"/>
          </p:cNvSpPr>
          <p:nvPr>
            <p:ph type="body" sz="quarter" idx="34"/>
          </p:nvPr>
        </p:nvSpPr>
        <p:spPr>
          <a:xfrm>
            <a:off x="9773041" y="3429000"/>
            <a:ext cx="2409768" cy="3429000"/>
          </a:xfrm>
          <a:solidFill>
            <a:srgbClr val="B9D5BD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6" name="Text Placeholder 2">
            <a:extLst>
              <a:ext uri="{FF2B5EF4-FFF2-40B4-BE49-F238E27FC236}">
                <a16:creationId xmlns:a16="http://schemas.microsoft.com/office/drawing/2014/main" id="{19356F5B-9938-CA48-8314-47C11F07B9BD}"/>
              </a:ext>
            </a:extLst>
          </p:cNvPr>
          <p:cNvSpPr>
            <a:spLocks noGrp="1"/>
          </p:cNvSpPr>
          <p:nvPr>
            <p:ph type="body" sz="quarter" idx="35"/>
          </p:nvPr>
        </p:nvSpPr>
        <p:spPr>
          <a:xfrm>
            <a:off x="2449680" y="3429000"/>
            <a:ext cx="2456796" cy="284480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47" name="Text Placeholder 2">
            <a:extLst>
              <a:ext uri="{FF2B5EF4-FFF2-40B4-BE49-F238E27FC236}">
                <a16:creationId xmlns:a16="http://schemas.microsoft.com/office/drawing/2014/main" id="{97001203-3AEC-9D4C-9749-FC57EB97E0C4}"/>
              </a:ext>
            </a:extLst>
          </p:cNvPr>
          <p:cNvSpPr>
            <a:spLocks noGrp="1"/>
          </p:cNvSpPr>
          <p:nvPr>
            <p:ph type="body" sz="quarter" idx="36"/>
          </p:nvPr>
        </p:nvSpPr>
        <p:spPr>
          <a:xfrm>
            <a:off x="7325434" y="3429000"/>
            <a:ext cx="2447607" cy="2844800"/>
          </a:xfrm>
          <a:solidFill>
            <a:srgbClr val="DBE6DE"/>
          </a:solidFill>
        </p:spPr>
        <p:txBody>
          <a:bodyPr lIns="251999" tIns="180000" rIns="251999" bIns="360000"/>
          <a:lstStyle>
            <a:lvl1pPr algn="ctr">
              <a:defRPr/>
            </a:lvl1pPr>
            <a:lvl2pPr algn="ctr">
              <a:defRPr/>
            </a:lvl2pPr>
            <a:lvl3pPr algn="ctr">
              <a:defRPr/>
            </a:lvl3pPr>
            <a:lvl4pPr algn="ctr">
              <a:defRPr/>
            </a:lvl4pPr>
            <a:lvl5pPr algn="ctr">
              <a:defRPr/>
            </a:lvl5pPr>
          </a:lstStyle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488705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E423FA97-5F55-B84E-BCD7-3F0B366E13C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5753787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pos="960">
          <p15:clr>
            <a:srgbClr val="FBAE40"/>
          </p15:clr>
        </p15:guide>
        <p15:guide id="12" orient="horz" pos="3952">
          <p15:clr>
            <a:srgbClr val="FBAE40"/>
          </p15:clr>
        </p15:guide>
      </p15:sldGuideLst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A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8272164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AA1CA7D-5FDF-C544-8786-E48E80487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9669"/>
            <a:ext cx="9144000" cy="738664"/>
          </a:xfrm>
        </p:spPr>
        <p:txBody>
          <a:bodyPr wrap="square" anchor="ctr">
            <a:spAutoFit/>
          </a:bodyPr>
          <a:lstStyle>
            <a:lvl1pPr algn="ctr">
              <a:defRPr sz="6000" b="1" i="0">
                <a:solidFill>
                  <a:schemeClr val="bg1"/>
                </a:solidFill>
                <a:latin typeface="Arla InterFace W" panose="020B0503020203020304" pitchFamily="34" charset="77"/>
              </a:defRPr>
            </a:lvl1pPr>
          </a:lstStyle>
          <a:p>
            <a:r>
              <a:rPr lang="en-GB" dirty="0"/>
              <a:t>Statement / Quo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79953-88DF-5C4C-8F4C-51C85A576F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4271209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Normal excl.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2" y="2276474"/>
            <a:ext cx="10189498" cy="342344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5158"/>
            <a:ext cx="10188575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018857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3" name="Text Placeholder 6">
            <a:extLst>
              <a:ext uri="{FF2B5EF4-FFF2-40B4-BE49-F238E27FC236}">
                <a16:creationId xmlns:a16="http://schemas.microsoft.com/office/drawing/2014/main" id="{32D83FC1-0F61-B54B-839E-E59A71FB937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EEDA3159-D477-4C44-B116-222DA7955182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  <p:sp>
        <p:nvSpPr>
          <p:cNvPr id="4" name="Pladsholder til dato 3">
            <a:extLst>
              <a:ext uri="{FF2B5EF4-FFF2-40B4-BE49-F238E27FC236}">
                <a16:creationId xmlns:a16="http://schemas.microsoft.com/office/drawing/2014/main" id="{958A451D-3861-406C-A3B6-8D43778F0059}"/>
              </a:ext>
            </a:extLst>
          </p:cNvPr>
          <p:cNvSpPr>
            <a:spLocks noGrp="1"/>
          </p:cNvSpPr>
          <p:nvPr>
            <p:ph type="dt" sz="half" idx="21"/>
          </p:nvPr>
        </p:nvSpPr>
        <p:spPr/>
        <p:txBody>
          <a:bodyPr/>
          <a:lstStyle/>
          <a:p>
            <a:fld id="{401DCF0F-B7FE-7C4C-A282-9BC17FD12FBD}" type="datetime1">
              <a:rPr lang="en-GB" smtClean="0"/>
              <a:t>01/11/2022</a:t>
            </a:fld>
            <a:endParaRPr lang="en-GB"/>
          </a:p>
        </p:txBody>
      </p:sp>
      <p:sp>
        <p:nvSpPr>
          <p:cNvPr id="5" name="Pladsholder til sidefod 4">
            <a:extLst>
              <a:ext uri="{FF2B5EF4-FFF2-40B4-BE49-F238E27FC236}">
                <a16:creationId xmlns:a16="http://schemas.microsoft.com/office/drawing/2014/main" id="{D1F2D40D-B13F-4E3F-B544-80E2CADADA91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r>
              <a:rPr lang="en-US"/>
              <a:t>For </a:t>
            </a:r>
            <a:r>
              <a:rPr lang="en-US">
                <a:latin typeface="Arla InterFace" panose="020B0503020203020304" pitchFamily="34" charset="0"/>
              </a:rPr>
              <a:t>institutional</a:t>
            </a:r>
            <a:r>
              <a:rPr lang="en-US"/>
              <a:t> use only</a:t>
            </a:r>
            <a:endParaRPr lang="en-US" dirty="0"/>
          </a:p>
        </p:txBody>
      </p:sp>
      <p:sp>
        <p:nvSpPr>
          <p:cNvPr id="6" name="Pladsholder til slidenummer 5">
            <a:extLst>
              <a:ext uri="{FF2B5EF4-FFF2-40B4-BE49-F238E27FC236}">
                <a16:creationId xmlns:a16="http://schemas.microsoft.com/office/drawing/2014/main" id="{4FC4B28C-6AD3-40D9-82F6-D3DF5DDCD5C6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pPr algn="ctr"/>
            <a:fld id="{659A96A6-0DB6-784E-9F89-91B18C95C43E}" type="slidenum">
              <a:rPr lang="en-US" smtClean="0"/>
              <a:pPr algn="ctr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15662898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B">
    <p:bg>
      <p:bgPr>
        <a:solidFill>
          <a:srgbClr val="D1CB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8272164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AA1CA7D-5FDF-C544-8786-E48E80487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9669"/>
            <a:ext cx="9144000" cy="738664"/>
          </a:xfrm>
        </p:spPr>
        <p:txBody>
          <a:bodyPr wrap="square" anchor="ctr">
            <a:spAutoFit/>
          </a:bodyPr>
          <a:lstStyle>
            <a:lvl1pPr algn="ctr">
              <a:defRPr sz="6000" b="1" i="0">
                <a:solidFill>
                  <a:schemeClr val="tx1"/>
                </a:solidFill>
                <a:latin typeface="Arla InterFace W" panose="020B0503020203020304" pitchFamily="34" charset="77"/>
              </a:defRPr>
            </a:lvl1pPr>
          </a:lstStyle>
          <a:p>
            <a:r>
              <a:rPr lang="en-GB" dirty="0"/>
              <a:t>Statement / Quo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79953-88DF-5C4C-8F4C-51C85A576F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658235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tatement C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8272164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AAA1CA7D-5FDF-C544-8786-E48E80487AC6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1524000" y="3059669"/>
            <a:ext cx="9144000" cy="738664"/>
          </a:xfrm>
        </p:spPr>
        <p:txBody>
          <a:bodyPr wrap="square" anchor="ctr">
            <a:spAutoFit/>
          </a:bodyPr>
          <a:lstStyle>
            <a:lvl1pPr algn="ctr">
              <a:defRPr sz="6000" b="1" i="0">
                <a:solidFill>
                  <a:schemeClr val="accent1"/>
                </a:solidFill>
                <a:latin typeface="Arla InterFace W" panose="020B0503020203020304" pitchFamily="34" charset="77"/>
              </a:defRPr>
            </a:lvl1pPr>
          </a:lstStyle>
          <a:p>
            <a:r>
              <a:rPr lang="en-GB" dirty="0"/>
              <a:t>Statement / Quot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FDD79953-88DF-5C4C-8F4C-51C85A576F89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59964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FDEF5D16-124E-9D44-AD5B-885BB8B683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3035299" cy="3429000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456F2F9-162F-494B-BB0F-D6E7A4F42A8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608888" y="3429000"/>
            <a:ext cx="3059112" cy="3425253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00D58EB1-86DD-974C-985A-B880C2B270B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35300" y="-7494"/>
            <a:ext cx="9156700" cy="3436494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00F82875-CD43-4B45-942A-1E90FD80B30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2276474"/>
            <a:ext cx="3035299" cy="1152525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9" name="Picture Placeholder 7">
            <a:extLst>
              <a:ext uri="{FF2B5EF4-FFF2-40B4-BE49-F238E27FC236}">
                <a16:creationId xmlns:a16="http://schemas.microsoft.com/office/drawing/2014/main" id="{2728C8CF-164F-7446-BDAE-942D072690A1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035300" y="3429000"/>
            <a:ext cx="4573589" cy="3436494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2" name="Picture Placeholder 7">
            <a:extLst>
              <a:ext uri="{FF2B5EF4-FFF2-40B4-BE49-F238E27FC236}">
                <a16:creationId xmlns:a16="http://schemas.microsoft.com/office/drawing/2014/main" id="{4586E832-60BF-8748-968A-76C7DF5F06AF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1" y="-7495"/>
            <a:ext cx="3035299" cy="2283968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pic>
        <p:nvPicPr>
          <p:cNvPr id="10" name="Picture 9">
            <a:extLst>
              <a:ext uri="{FF2B5EF4-FFF2-40B4-BE49-F238E27FC236}">
                <a16:creationId xmlns:a16="http://schemas.microsoft.com/office/drawing/2014/main" id="{9EA6DF4B-6A98-7E4C-A56A-CB8383208D24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7908287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Moodboard B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Picture Placeholder 7">
            <a:extLst>
              <a:ext uri="{FF2B5EF4-FFF2-40B4-BE49-F238E27FC236}">
                <a16:creationId xmlns:a16="http://schemas.microsoft.com/office/drawing/2014/main" id="{FDEF5D16-124E-9D44-AD5B-885BB8B6832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1" y="3429000"/>
            <a:ext cx="3035299" cy="3425254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456F2F9-162F-494B-BB0F-D6E7A4F42A8C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3035301" y="3429000"/>
            <a:ext cx="7632699" cy="3425253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0" name="Picture Placeholder 7">
            <a:extLst>
              <a:ext uri="{FF2B5EF4-FFF2-40B4-BE49-F238E27FC236}">
                <a16:creationId xmlns:a16="http://schemas.microsoft.com/office/drawing/2014/main" id="{2148ABE7-AB55-3F41-96D5-A1804CDC82E2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156698" y="-7494"/>
            <a:ext cx="3040467" cy="3436494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00D58EB1-86DD-974C-985A-B880C2B270BA}"/>
              </a:ext>
            </a:extLst>
          </p:cNvPr>
          <p:cNvSpPr>
            <a:spLocks noGrp="1"/>
          </p:cNvSpPr>
          <p:nvPr>
            <p:ph type="pic" sz="quarter" idx="18"/>
          </p:nvPr>
        </p:nvSpPr>
        <p:spPr>
          <a:xfrm>
            <a:off x="3035300" y="-7494"/>
            <a:ext cx="6121400" cy="3436494"/>
          </a:xfrm>
          <a:solidFill>
            <a:srgbClr val="DBE6DE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sp>
        <p:nvSpPr>
          <p:cNvPr id="13" name="Picture Placeholder 7">
            <a:extLst>
              <a:ext uri="{FF2B5EF4-FFF2-40B4-BE49-F238E27FC236}">
                <a16:creationId xmlns:a16="http://schemas.microsoft.com/office/drawing/2014/main" id="{00F82875-CD43-4B45-942A-1E90FD80B309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1" y="-7494"/>
            <a:ext cx="3035299" cy="3436494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/>
          </a:p>
        </p:txBody>
      </p:sp>
      <p:pic>
        <p:nvPicPr>
          <p:cNvPr id="9" name="Picture 8">
            <a:extLst>
              <a:ext uri="{FF2B5EF4-FFF2-40B4-BE49-F238E27FC236}">
                <a16:creationId xmlns:a16="http://schemas.microsoft.com/office/drawing/2014/main" id="{6E5D67F1-8B6F-8748-812B-63005F53F485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41730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4" pos="384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4288"/>
            <a:ext cx="9161463" cy="4581525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212A6-03CC-5746-A3D2-3A06FCBFB7DF}"/>
              </a:ext>
            </a:extLst>
          </p:cNvPr>
          <p:cNvSpPr/>
          <p:nvPr userDrawn="1"/>
        </p:nvSpPr>
        <p:spPr>
          <a:xfrm>
            <a:off x="9161463" y="0"/>
            <a:ext cx="3035300" cy="4581525"/>
          </a:xfrm>
          <a:prstGeom prst="rect">
            <a:avLst/>
          </a:prstGeom>
          <a:solidFill>
            <a:schemeClr val="accent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91273"/>
            <a:ext cx="8626815" cy="812530"/>
          </a:xfrm>
        </p:spPr>
        <p:txBody>
          <a:bodyPr wrap="square" anchor="ctr">
            <a:spAutoFit/>
          </a:bodyPr>
          <a:lstStyle>
            <a:lvl1pPr algn="l">
              <a:defRPr sz="6600">
                <a:solidFill>
                  <a:srgbClr val="DBE6DE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E2B75B-A88B-FD46-B4EE-2346BF22C397}"/>
              </a:ext>
            </a:extLst>
          </p:cNvPr>
          <p:cNvSpPr/>
          <p:nvPr userDrawn="1"/>
        </p:nvSpPr>
        <p:spPr>
          <a:xfrm>
            <a:off x="9161463" y="4567237"/>
            <a:ext cx="3035300" cy="2290762"/>
          </a:xfrm>
          <a:prstGeom prst="rect">
            <a:avLst/>
          </a:prstGeom>
          <a:solidFill>
            <a:srgbClr val="C4D2A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A49EF11C-470A-C44E-BF79-A1F90E1EE34C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95C1C9F4-B0A1-A043-9FA7-F8197380B8FA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89449867-5EF5-874B-8AF6-6EA2D7CFF111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369240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B">
    <p:bg>
      <p:bgPr>
        <a:solidFill>
          <a:srgbClr val="D1CBC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4288"/>
            <a:ext cx="9161463" cy="4581525"/>
          </a:xfrm>
          <a:solidFill>
            <a:srgbClr val="F6F4F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212A6-03CC-5746-A3D2-3A06FCBFB7DF}"/>
              </a:ext>
            </a:extLst>
          </p:cNvPr>
          <p:cNvSpPr/>
          <p:nvPr userDrawn="1"/>
        </p:nvSpPr>
        <p:spPr>
          <a:xfrm>
            <a:off x="9161463" y="0"/>
            <a:ext cx="3035300" cy="4581525"/>
          </a:xfrm>
          <a:prstGeom prst="rect">
            <a:avLst/>
          </a:prstGeom>
          <a:solidFill>
            <a:srgbClr val="E9E4E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91273"/>
            <a:ext cx="8626815" cy="812530"/>
          </a:xfrm>
        </p:spPr>
        <p:txBody>
          <a:bodyPr wrap="square" anchor="ctr">
            <a:spAutoFit/>
          </a:bodyPr>
          <a:lstStyle>
            <a:lvl1pPr algn="l">
              <a:defRPr sz="6600">
                <a:solidFill>
                  <a:schemeClr val="tx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E2B75B-A88B-FD46-B4EE-2346BF22C397}"/>
              </a:ext>
            </a:extLst>
          </p:cNvPr>
          <p:cNvSpPr/>
          <p:nvPr userDrawn="1"/>
        </p:nvSpPr>
        <p:spPr>
          <a:xfrm>
            <a:off x="9161463" y="4567237"/>
            <a:ext cx="3035300" cy="2290762"/>
          </a:xfrm>
          <a:prstGeom prst="rect">
            <a:avLst/>
          </a:prstGeom>
          <a:solidFill>
            <a:srgbClr val="F6F4F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DCC0C8C7-CAF6-964B-804A-30C5FA2E2C67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413D6152-939F-6245-BD28-814714DA0142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7DD8094A-192C-5E4D-BA30-5F213092A9FA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0254310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hank You C">
    <p:bg>
      <p:bgPr>
        <a:solidFill>
          <a:srgbClr val="D6EAF9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-14288"/>
            <a:ext cx="9161463" cy="4581525"/>
          </a:xfrm>
          <a:solidFill>
            <a:srgbClr val="EAF2FA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212A6-03CC-5746-A3D2-3A06FCBFB7DF}"/>
              </a:ext>
            </a:extLst>
          </p:cNvPr>
          <p:cNvSpPr/>
          <p:nvPr userDrawn="1"/>
        </p:nvSpPr>
        <p:spPr>
          <a:xfrm>
            <a:off x="9161463" y="0"/>
            <a:ext cx="3035300" cy="4581525"/>
          </a:xfrm>
          <a:prstGeom prst="rect">
            <a:avLst/>
          </a:prstGeom>
          <a:solidFill>
            <a:srgbClr val="D5EAF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5291273"/>
            <a:ext cx="8626815" cy="812530"/>
          </a:xfrm>
        </p:spPr>
        <p:txBody>
          <a:bodyPr wrap="square" anchor="ctr">
            <a:spAutoFit/>
          </a:bodyPr>
          <a:lstStyle>
            <a:lvl1pPr algn="l">
              <a:defRPr sz="6600">
                <a:solidFill>
                  <a:srgbClr val="0C728D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D2E2B75B-A88B-FD46-B4EE-2346BF22C397}"/>
              </a:ext>
            </a:extLst>
          </p:cNvPr>
          <p:cNvSpPr/>
          <p:nvPr userDrawn="1"/>
        </p:nvSpPr>
        <p:spPr>
          <a:xfrm>
            <a:off x="9161463" y="4567237"/>
            <a:ext cx="3035300" cy="2290762"/>
          </a:xfrm>
          <a:prstGeom prst="rect">
            <a:avLst/>
          </a:prstGeom>
          <a:solidFill>
            <a:srgbClr val="96C0E4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grpSp>
        <p:nvGrpSpPr>
          <p:cNvPr id="6" name="Group 5">
            <a:extLst>
              <a:ext uri="{FF2B5EF4-FFF2-40B4-BE49-F238E27FC236}">
                <a16:creationId xmlns:a16="http://schemas.microsoft.com/office/drawing/2014/main" id="{39EA8E45-FBC3-3049-9A4E-B4D31AB71676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5FC9743C-42F3-F749-8C53-96A72E502D11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C0D54C46-D4A3-E34A-B17C-7160762272B5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7722274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B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A1FB2E6-2973-3C42-8714-D108A58A85F0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534648" y="730099"/>
            <a:ext cx="8617289" cy="812530"/>
          </a:xfrm>
        </p:spPr>
        <p:txBody>
          <a:bodyPr wrap="square" anchor="ctr">
            <a:spAutoFit/>
          </a:bodyPr>
          <a:lstStyle>
            <a:lvl1pPr algn="l">
              <a:defRPr sz="6600">
                <a:solidFill>
                  <a:srgbClr val="DBE6DE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D28B2E5D-9BBC-9D4D-B322-4D86023473AB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763" y="2276475"/>
            <a:ext cx="9156700" cy="4581525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D39212A6-03CC-5746-A3D2-3A06FCBFB7DF}"/>
              </a:ext>
            </a:extLst>
          </p:cNvPr>
          <p:cNvSpPr/>
          <p:nvPr userDrawn="1"/>
        </p:nvSpPr>
        <p:spPr>
          <a:xfrm>
            <a:off x="9151937" y="4605251"/>
            <a:ext cx="3035300" cy="2252750"/>
          </a:xfrm>
          <a:prstGeom prst="rect">
            <a:avLst/>
          </a:prstGeom>
          <a:solidFill>
            <a:srgbClr val="DBE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4" name="Picture Placeholder 7">
            <a:extLst>
              <a:ext uri="{FF2B5EF4-FFF2-40B4-BE49-F238E27FC236}">
                <a16:creationId xmlns:a16="http://schemas.microsoft.com/office/drawing/2014/main" id="{2EADDF6B-23EE-E945-9F42-4BD80A341587}"/>
              </a:ext>
            </a:extLst>
          </p:cNvPr>
          <p:cNvSpPr>
            <a:spLocks noGrp="1"/>
          </p:cNvSpPr>
          <p:nvPr>
            <p:ph type="pic" sz="quarter" idx="11"/>
          </p:nvPr>
        </p:nvSpPr>
        <p:spPr>
          <a:xfrm>
            <a:off x="9151937" y="2276476"/>
            <a:ext cx="3035300" cy="2305050"/>
          </a:xfrm>
          <a:solidFill>
            <a:srgbClr val="C4D2A4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5FF96583-A9A1-B643-BD97-80AFD215FE7F}"/>
              </a:ext>
            </a:extLst>
          </p:cNvPr>
          <p:cNvSpPr/>
          <p:nvPr userDrawn="1"/>
        </p:nvSpPr>
        <p:spPr>
          <a:xfrm>
            <a:off x="9156700" y="0"/>
            <a:ext cx="3035300" cy="227574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35EB1500-ACA7-BB4E-91D8-E63F391087B8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9466266" y="1018603"/>
            <a:ext cx="2665216" cy="246221"/>
          </a:xfrm>
        </p:spPr>
        <p:txBody>
          <a:bodyPr wrap="square" anchor="ctr">
            <a:spAutoFit/>
          </a:bodyPr>
          <a:lstStyle>
            <a:lvl1pPr marL="0" indent="0" algn="l">
              <a:buNone/>
              <a:defRPr sz="1600" b="1" i="0">
                <a:solidFill>
                  <a:schemeClr val="accent2"/>
                </a:solidFill>
                <a:latin typeface="Arla InterFace" panose="020B0503020203020304" pitchFamily="34" charset="0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GB" dirty="0"/>
              <a:t>Subtitle</a:t>
            </a: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1766849A-A3D0-6144-8A3B-1891961B89F5}"/>
              </a:ext>
            </a:extLst>
          </p:cNvPr>
          <p:cNvGrpSpPr/>
          <p:nvPr userDrawn="1"/>
        </p:nvGrpSpPr>
        <p:grpSpPr>
          <a:xfrm>
            <a:off x="7608888" y="5190594"/>
            <a:ext cx="4583112" cy="1667406"/>
            <a:chOff x="7299029" y="5077863"/>
            <a:chExt cx="4892971" cy="1780137"/>
          </a:xfrm>
        </p:grpSpPr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122A602C-5470-3747-BFAB-9413504FA8D4}"/>
                </a:ext>
              </a:extLst>
            </p:cNvPr>
            <p:cNvSpPr/>
            <p:nvPr/>
          </p:nvSpPr>
          <p:spPr>
            <a:xfrm>
              <a:off x="7299029" y="5077863"/>
              <a:ext cx="4892971" cy="1780137"/>
            </a:xfrm>
            <a:custGeom>
              <a:avLst/>
              <a:gdLst>
                <a:gd name="connsiteX0" fmla="*/ 3433717 w 4892971"/>
                <a:gd name="connsiteY0" fmla="*/ 0 h 1780137"/>
                <a:gd name="connsiteX1" fmla="*/ 4361938 w 4892971"/>
                <a:gd name="connsiteY1" fmla="*/ 273564 h 1780137"/>
                <a:gd name="connsiteX2" fmla="*/ 4464772 w 4892971"/>
                <a:gd name="connsiteY2" fmla="*/ 350293 h 1780137"/>
                <a:gd name="connsiteX3" fmla="*/ 4492548 w 4892971"/>
                <a:gd name="connsiteY3" fmla="*/ 319089 h 1780137"/>
                <a:gd name="connsiteX4" fmla="*/ 4837379 w 4892971"/>
                <a:gd name="connsiteY4" fmla="*/ 98448 h 1780137"/>
                <a:gd name="connsiteX5" fmla="*/ 4892971 w 4892971"/>
                <a:gd name="connsiteY5" fmla="*/ 83046 h 1780137"/>
                <a:gd name="connsiteX6" fmla="*/ 4892971 w 4892971"/>
                <a:gd name="connsiteY6" fmla="*/ 1780137 h 1780137"/>
                <a:gd name="connsiteX7" fmla="*/ 0 w 4892971"/>
                <a:gd name="connsiteY7" fmla="*/ 1780137 h 1780137"/>
                <a:gd name="connsiteX8" fmla="*/ 24057 w 4892971"/>
                <a:gd name="connsiteY8" fmla="*/ 1748006 h 1780137"/>
                <a:gd name="connsiteX9" fmla="*/ 949639 w 4892971"/>
                <a:gd name="connsiteY9" fmla="*/ 1312046 h 1780137"/>
                <a:gd name="connsiteX10" fmla="*/ 1362063 w 4892971"/>
                <a:gd name="connsiteY10" fmla="*/ 1384740 h 1780137"/>
                <a:gd name="connsiteX11" fmla="*/ 1380024 w 4892971"/>
                <a:gd name="connsiteY11" fmla="*/ 1392197 h 1780137"/>
                <a:gd name="connsiteX12" fmla="*/ 1382833 w 4892971"/>
                <a:gd name="connsiteY12" fmla="*/ 1359998 h 1780137"/>
                <a:gd name="connsiteX13" fmla="*/ 1814541 w 4892971"/>
                <a:gd name="connsiteY13" fmla="*/ 953388 h 1780137"/>
                <a:gd name="connsiteX14" fmla="*/ 1945580 w 4892971"/>
                <a:gd name="connsiteY14" fmla="*/ 976282 h 1780137"/>
                <a:gd name="connsiteX15" fmla="*/ 1996162 w 4892971"/>
                <a:gd name="connsiteY15" fmla="*/ 999313 h 1780137"/>
                <a:gd name="connsiteX16" fmla="*/ 2004110 w 4892971"/>
                <a:gd name="connsiteY16" fmla="*/ 956559 h 1780137"/>
                <a:gd name="connsiteX17" fmla="*/ 3433717 w 4892971"/>
                <a:gd name="connsiteY17" fmla="*/ 0 h 178013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</a:cxnLst>
              <a:rect l="l" t="t" r="r" b="b"/>
              <a:pathLst>
                <a:path w="4892971" h="1780137">
                  <a:moveTo>
                    <a:pt x="3433717" y="0"/>
                  </a:moveTo>
                  <a:cubicBezTo>
                    <a:pt x="3786309" y="0"/>
                    <a:pt x="4109693" y="102663"/>
                    <a:pt x="4361938" y="273564"/>
                  </a:cubicBezTo>
                  <a:lnTo>
                    <a:pt x="4464772" y="350293"/>
                  </a:lnTo>
                  <a:lnTo>
                    <a:pt x="4492548" y="319089"/>
                  </a:lnTo>
                  <a:cubicBezTo>
                    <a:pt x="4592099" y="217535"/>
                    <a:pt x="4709198" y="141325"/>
                    <a:pt x="4837379" y="98448"/>
                  </a:cubicBezTo>
                  <a:lnTo>
                    <a:pt x="4892971" y="83046"/>
                  </a:lnTo>
                  <a:lnTo>
                    <a:pt x="4892971" y="1780137"/>
                  </a:lnTo>
                  <a:lnTo>
                    <a:pt x="0" y="1780137"/>
                  </a:lnTo>
                  <a:lnTo>
                    <a:pt x="24057" y="1748006"/>
                  </a:lnTo>
                  <a:cubicBezTo>
                    <a:pt x="244061" y="1481754"/>
                    <a:pt x="577007" y="1312046"/>
                    <a:pt x="949639" y="1312046"/>
                  </a:cubicBezTo>
                  <a:cubicBezTo>
                    <a:pt x="1094552" y="1312046"/>
                    <a:pt x="1233462" y="1337712"/>
                    <a:pt x="1362063" y="1384740"/>
                  </a:cubicBezTo>
                  <a:lnTo>
                    <a:pt x="1380024" y="1392197"/>
                  </a:lnTo>
                  <a:lnTo>
                    <a:pt x="1382833" y="1359998"/>
                  </a:lnTo>
                  <a:cubicBezTo>
                    <a:pt x="1423923" y="1127946"/>
                    <a:pt x="1601592" y="953388"/>
                    <a:pt x="1814541" y="953388"/>
                  </a:cubicBezTo>
                  <a:cubicBezTo>
                    <a:pt x="1860173" y="953388"/>
                    <a:pt x="1904185" y="961403"/>
                    <a:pt x="1945580" y="976282"/>
                  </a:cubicBezTo>
                  <a:lnTo>
                    <a:pt x="1996162" y="999313"/>
                  </a:lnTo>
                  <a:lnTo>
                    <a:pt x="2004110" y="956559"/>
                  </a:lnTo>
                  <a:cubicBezTo>
                    <a:pt x="2140180" y="410652"/>
                    <a:pt x="2728534" y="0"/>
                    <a:pt x="3433717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D04F9988-4016-F849-940C-C03C671194C4}"/>
                </a:ext>
              </a:extLst>
            </p:cNvPr>
            <p:cNvPicPr>
              <a:picLocks noChangeAspect="1"/>
            </p:cNvPicPr>
            <p:nvPr/>
          </p:nvPicPr>
          <p:blipFill>
            <a:blip r:embed="rId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9760826" y="5321663"/>
              <a:ext cx="1842910" cy="123198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54221673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>
          <p15:clr>
            <a:srgbClr val="FBAE40"/>
          </p15:clr>
        </p15:guide>
        <p15:guide id="2" orient="horz" pos="709">
          <p15:clr>
            <a:srgbClr val="FBAE40"/>
          </p15:clr>
        </p15:guide>
        <p15:guide id="3" orient="horz" pos="3589">
          <p15:clr>
            <a:srgbClr val="FBAE40"/>
          </p15:clr>
        </p15:guide>
        <p15:guide id="4" pos="2887">
          <p15:clr>
            <a:srgbClr val="FBAE40"/>
          </p15:clr>
        </p15:guide>
        <p15:guide id="5" pos="960">
          <p15:clr>
            <a:srgbClr val="FBAE40"/>
          </p15:clr>
        </p15:guide>
        <p15:guide id="6" pos="4793">
          <p15:clr>
            <a:srgbClr val="FBAE40"/>
          </p15:clr>
        </p15:guide>
        <p15:guide id="7" pos="6720">
          <p15:clr>
            <a:srgbClr val="FBAE40"/>
          </p15:clr>
        </p15:guide>
      </p15:sldGuideLst>
    </p:ext>
  </p:extLst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B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4B5AB637-21E7-3D49-A0F0-9C101FD9B2FC}"/>
              </a:ext>
            </a:extLst>
          </p:cNvPr>
          <p:cNvSpPr/>
          <p:nvPr userDrawn="1"/>
        </p:nvSpPr>
        <p:spPr>
          <a:xfrm>
            <a:off x="0" y="5697538"/>
            <a:ext cx="12192000" cy="1160462"/>
          </a:xfrm>
          <a:prstGeom prst="rect">
            <a:avLst/>
          </a:prstGeom>
          <a:solidFill>
            <a:srgbClr val="DBE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0F4050E5-61F5-6D49-B883-7B3135C96BC8}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0" y="0"/>
            <a:ext cx="7613885" cy="5697538"/>
          </a:xfrm>
          <a:solidFill>
            <a:srgbClr val="B9D5BD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3D08E954-0945-704B-8C9E-CEBC02D19C2E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7981057" y="451116"/>
            <a:ext cx="3852878" cy="393954"/>
          </a:xfrm>
        </p:spPr>
        <p:txBody>
          <a:bodyPr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agenda</a:t>
            </a:r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7980133" y="2276475"/>
            <a:ext cx="3853801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35232753-CD35-D14E-A47E-98136651677D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4" name="Picture 13">
            <a:extLst>
              <a:ext uri="{FF2B5EF4-FFF2-40B4-BE49-F238E27FC236}">
                <a16:creationId xmlns:a16="http://schemas.microsoft.com/office/drawing/2014/main" id="{FD65034F-0FEA-0C46-A1E2-2A1C270EC21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4431501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 with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Rectangle 11">
            <a:extLst>
              <a:ext uri="{FF2B5EF4-FFF2-40B4-BE49-F238E27FC236}">
                <a16:creationId xmlns:a16="http://schemas.microsoft.com/office/drawing/2014/main" id="{FCE4B3C8-6E75-5046-88D9-9FC7D85A68F8}"/>
              </a:ext>
            </a:extLst>
          </p:cNvPr>
          <p:cNvSpPr/>
          <p:nvPr userDrawn="1"/>
        </p:nvSpPr>
        <p:spPr>
          <a:xfrm>
            <a:off x="0" y="-1"/>
            <a:ext cx="12192000" cy="1337481"/>
          </a:xfrm>
          <a:prstGeom prst="rect">
            <a:avLst/>
          </a:prstGeom>
          <a:solidFill>
            <a:srgbClr val="DBE6DE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92B0E5-5FA5-AF48-8758-D26E1A2724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9EDEC2F-5743-2144-A88A-85A37574AC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4000"/>
            <a:ext cx="11128995" cy="300038"/>
          </a:xfrm>
        </p:spPr>
        <p:txBody>
          <a:bodyPr anchor="t"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E8541D-AAF2-7D48-9FF0-FF9463E4C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112899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533AA45-B60A-D848-BF08-98EBE3E11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1131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65267E-50E0-B345-929F-362B9379F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2981462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910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anels excl. pan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92B0E5-5FA5-AF48-8758-D26E1A2724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1018156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9EDEC2F-5743-2144-A88A-85A37574AC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404000"/>
            <a:ext cx="11128995" cy="300038"/>
          </a:xfrm>
        </p:spPr>
        <p:txBody>
          <a:bodyPr anchor="t"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E8541D-AAF2-7D48-9FF0-FF9463E4C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0434"/>
            <a:ext cx="11128995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533AA45-B60A-D848-BF08-98EBE3E11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1131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8365267E-50E0-B345-929F-362B9379FA0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1327111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910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placeholders">
    <p:bg>
      <p:bgPr>
        <a:solidFill>
          <a:srgbClr val="DBE6DE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E107D75-BCD0-4B44-B859-876E04BEED7A}"/>
              </a:ext>
            </a:extLst>
          </p:cNvPr>
          <p:cNvSpPr/>
          <p:nvPr userDrawn="1"/>
        </p:nvSpPr>
        <p:spPr>
          <a:xfrm>
            <a:off x="0" y="0"/>
            <a:ext cx="609600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3D92B0E5-5FA5-AF48-8758-D26E1A27246A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5085995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8" y="6546960"/>
            <a:ext cx="5082823" cy="138499"/>
          </a:xfrm>
        </p:spPr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3" name="Text Placeholder 18">
            <a:extLst>
              <a:ext uri="{FF2B5EF4-FFF2-40B4-BE49-F238E27FC236}">
                <a16:creationId xmlns:a16="http://schemas.microsoft.com/office/drawing/2014/main" id="{B9EDEC2F-5743-2144-A88A-85A37574AC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404000"/>
            <a:ext cx="5096186" cy="296464"/>
          </a:xfrm>
        </p:spPr>
        <p:txBody>
          <a:bodyPr anchor="t"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02E8541D-AAF2-7D48-9FF0-FF9463E4CEB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470434"/>
            <a:ext cx="5096186" cy="689420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5" name="Text Placeholder 9">
            <a:extLst>
              <a:ext uri="{FF2B5EF4-FFF2-40B4-BE49-F238E27FC236}">
                <a16:creationId xmlns:a16="http://schemas.microsoft.com/office/drawing/2014/main" id="{E533AA45-B60A-D848-BF08-98EBE3E11C54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6511313" y="2276475"/>
            <a:ext cx="5097108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1DDDA0DD-7DAE-724C-AC8B-62513F048D79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6510691" y="470016"/>
            <a:ext cx="5097107" cy="690562"/>
          </a:xfrm>
        </p:spPr>
        <p:txBody>
          <a:bodyPr anchor="t"/>
          <a:lstStyle>
            <a:lvl1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2800" b="1" kern="1200" cap="all" baseline="0" dirty="0" smtClean="0">
                <a:solidFill>
                  <a:schemeClr val="accent1"/>
                </a:solidFill>
                <a:latin typeface="ARLA STRONG" pitchFamily="2" charset="0"/>
                <a:ea typeface="+mj-ea"/>
                <a:cs typeface="+mj-cs"/>
              </a:defRPr>
            </a:lvl1pPr>
            <a:lvl2pPr marL="0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2800" b="1" kern="1200" cap="all" baseline="0" dirty="0" smtClean="0">
                <a:solidFill>
                  <a:schemeClr val="accent1"/>
                </a:solidFill>
                <a:latin typeface="ARLA STRONG" pitchFamily="2" charset="0"/>
                <a:ea typeface="+mj-ea"/>
                <a:cs typeface="+mj-cs"/>
              </a:defRPr>
            </a:lvl2pPr>
            <a:lvl3pPr marL="182562" indent="0"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2800" b="1" kern="1200" cap="all" baseline="0" dirty="0" smtClean="0">
                <a:solidFill>
                  <a:schemeClr val="accent1"/>
                </a:solidFill>
                <a:latin typeface="ARLA STRONG" pitchFamily="2" charset="0"/>
                <a:ea typeface="+mj-ea"/>
                <a:cs typeface="+mj-cs"/>
              </a:defRPr>
            </a:lvl3pPr>
            <a:lvl4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2800" b="1" kern="1200" cap="all" baseline="0" dirty="0" smtClean="0">
                <a:solidFill>
                  <a:schemeClr val="accent1"/>
                </a:solidFill>
                <a:latin typeface="ARLA STRONG" pitchFamily="2" charset="0"/>
                <a:ea typeface="+mj-ea"/>
                <a:cs typeface="+mj-cs"/>
              </a:defRPr>
            </a:lvl4pPr>
            <a:lvl5pPr algn="l" defTabSz="914400" rtl="0" eaLnBrk="1" latinLnBrk="0" hangingPunct="1">
              <a:lnSpc>
                <a:spcPct val="80000"/>
              </a:lnSpc>
              <a:spcBef>
                <a:spcPct val="0"/>
              </a:spcBef>
              <a:buNone/>
              <a:defRPr lang="en-GB" sz="2800" b="1" kern="1200" cap="all" baseline="0" dirty="0">
                <a:solidFill>
                  <a:schemeClr val="accent1"/>
                </a:solidFill>
                <a:latin typeface="ARLA STRONG" pitchFamily="2" charset="0"/>
                <a:ea typeface="+mj-ea"/>
                <a:cs typeface="+mj-cs"/>
              </a:defRPr>
            </a:lvl5pPr>
          </a:lstStyle>
          <a:p>
            <a:pPr lvl="0"/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20" name="Text Placeholder 19">
            <a:extLst>
              <a:ext uri="{FF2B5EF4-FFF2-40B4-BE49-F238E27FC236}">
                <a16:creationId xmlns:a16="http://schemas.microsoft.com/office/drawing/2014/main" id="{CB252DDB-EAFD-164B-874A-C13BC0F7CA0A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6510692" y="1434479"/>
            <a:ext cx="5097108" cy="249299"/>
          </a:xfrm>
        </p:spPr>
        <p:txBody>
          <a:bodyPr wrap="square">
            <a:spAutoFit/>
          </a:bodyPr>
          <a:lstStyle>
            <a:lvl1pPr>
              <a:defRPr lang="en-GB" sz="1800" b="1" i="0" kern="1200" dirty="0">
                <a:solidFill>
                  <a:srgbClr val="9DB86B"/>
                </a:solidFill>
                <a:latin typeface="Arla InterFace" panose="020B0503020203020304" pitchFamily="34" charset="0"/>
                <a:ea typeface="+mn-ea"/>
                <a:cs typeface="+mn-cs"/>
              </a:defRPr>
            </a:lvl1pPr>
            <a:lvl2pPr>
              <a:defRPr/>
            </a:lvl2pPr>
            <a:lvl3pPr>
              <a:defRPr/>
            </a:lvl3pPr>
            <a:lvl4pPr>
              <a:defRPr/>
            </a:lvl4pPr>
            <a:lvl5pPr>
              <a:defRPr/>
            </a:lvl5pPr>
          </a:lstStyle>
          <a:p>
            <a:pPr marL="0" lv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</a:pPr>
            <a:r>
              <a:rPr lang="en-GB" dirty="0"/>
              <a:t>Subtitle</a:t>
            </a: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117C2CD0-406C-074D-BA68-CD1CE0264E23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9058903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910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  <p15:guide id="11" orient="horz" pos="102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1/2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D7DCA9E0-D02A-3C4B-BF89-FB76E96FF1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6096000" y="0"/>
            <a:ext cx="6096000" cy="6857999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3" y="2276475"/>
            <a:ext cx="5331282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6960"/>
            <a:ext cx="5316996" cy="138499"/>
          </a:xfrm>
        </p:spPr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0DB4AD0C-87D3-4D4F-A7DA-91DAF2BE7D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404000"/>
            <a:ext cx="5330360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F7DCC6-1125-5B4F-A7F6-0969487F6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470434"/>
            <a:ext cx="5330360" cy="689420"/>
          </a:xfrm>
        </p:spPr>
        <p:txBody>
          <a:bodyPr anchor="t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20" name="Text Placeholder 6">
            <a:extLst>
              <a:ext uri="{FF2B5EF4-FFF2-40B4-BE49-F238E27FC236}">
                <a16:creationId xmlns:a16="http://schemas.microsoft.com/office/drawing/2014/main" id="{25F514FB-BD7B-7546-BED7-0028616BD7D6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532080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3" name="Picture 12">
            <a:extLst>
              <a:ext uri="{FF2B5EF4-FFF2-40B4-BE49-F238E27FC236}">
                <a16:creationId xmlns:a16="http://schemas.microsoft.com/office/drawing/2014/main" id="{F82CAA35-38EE-B549-8151-766746AC6B8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5812188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+ 1/4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Picture Placeholder 7">
            <a:extLst>
              <a:ext uri="{FF2B5EF4-FFF2-40B4-BE49-F238E27FC236}">
                <a16:creationId xmlns:a16="http://schemas.microsoft.com/office/drawing/2014/main" id="{D7DCA9E0-D02A-3C4B-BF89-FB76E96FF12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9156700" y="0"/>
            <a:ext cx="3035300" cy="6857999"/>
          </a:xfrm>
          <a:solidFill>
            <a:schemeClr val="accent3"/>
          </a:solidFill>
        </p:spPr>
        <p:txBody>
          <a:bodyPr bIns="756000" anchor="ctr"/>
          <a:lstStyle>
            <a:lvl1pPr algn="ctr">
              <a:defRPr sz="1000">
                <a:solidFill>
                  <a:srgbClr val="FF0000"/>
                </a:solidFill>
              </a:defRPr>
            </a:lvl1pPr>
          </a:lstStyle>
          <a:p>
            <a:r>
              <a:rPr lang="da-DK"/>
              <a:t>Klik på ikonet for at tilføje et billede</a:t>
            </a:r>
            <a:endParaRPr lang="en-GB" dirty="0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2" y="2276475"/>
            <a:ext cx="8286357" cy="3421064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8272164" cy="138499"/>
          </a:xfrm>
        </p:spPr>
        <p:txBody>
          <a:bodyPr/>
          <a:lstStyle>
            <a:lvl1pPr>
              <a:defRPr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Text Placeholder 18">
            <a:extLst>
              <a:ext uri="{FF2B5EF4-FFF2-40B4-BE49-F238E27FC236}">
                <a16:creationId xmlns:a16="http://schemas.microsoft.com/office/drawing/2014/main" id="{0DB4AD0C-87D3-4D4F-A7DA-91DAF2BE7D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6" y="1404000"/>
            <a:ext cx="8284924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4EF7DCC6-1125-5B4F-A7F6-0969487F632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6" y="470434"/>
            <a:ext cx="8284924" cy="689420"/>
          </a:xfrm>
        </p:spPr>
        <p:txBody>
          <a:bodyPr wrap="square" anchor="t">
            <a:spAutoFit/>
          </a:bodyPr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  <a:br>
              <a:rPr lang="en-GB" dirty="0"/>
            </a:br>
            <a:r>
              <a:rPr lang="en-GB" dirty="0"/>
              <a:t>ON TWO LINES MAX</a:t>
            </a:r>
          </a:p>
        </p:txBody>
      </p:sp>
      <p:sp>
        <p:nvSpPr>
          <p:cNvPr id="12" name="Text Placeholder 6">
            <a:extLst>
              <a:ext uri="{FF2B5EF4-FFF2-40B4-BE49-F238E27FC236}">
                <a16:creationId xmlns:a16="http://schemas.microsoft.com/office/drawing/2014/main" id="{48CBDEFC-059E-A44A-9C53-C35C7AE54B6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827640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6" name="Picture 15">
            <a:extLst>
              <a:ext uri="{FF2B5EF4-FFF2-40B4-BE49-F238E27FC236}">
                <a16:creationId xmlns:a16="http://schemas.microsoft.com/office/drawing/2014/main" id="{88884E74-8B73-AB46-B34A-9921EF350F4C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6837925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ntent Left 1/3">
    <p:bg>
      <p:bgPr>
        <a:solidFill>
          <a:srgbClr val="E9E4E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Rectangle 12">
            <a:extLst>
              <a:ext uri="{FF2B5EF4-FFF2-40B4-BE49-F238E27FC236}">
                <a16:creationId xmlns:a16="http://schemas.microsoft.com/office/drawing/2014/main" id="{366EA5E6-FD71-4543-BD61-6D512660A873}"/>
              </a:ext>
            </a:extLst>
          </p:cNvPr>
          <p:cNvSpPr/>
          <p:nvPr userDrawn="1"/>
        </p:nvSpPr>
        <p:spPr>
          <a:xfrm>
            <a:off x="4583113" y="-19739"/>
            <a:ext cx="7608886" cy="6877739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algn="ctr"/>
            <a:endParaRPr lang="en-GB"/>
          </a:p>
        </p:txBody>
      </p:sp>
      <p:sp>
        <p:nvSpPr>
          <p:cNvPr id="10" name="Text Placeholder 9">
            <a:extLst>
              <a:ext uri="{FF2B5EF4-FFF2-40B4-BE49-F238E27FC236}">
                <a16:creationId xmlns:a16="http://schemas.microsoft.com/office/drawing/2014/main" id="{DD57EC69-9116-0841-BBDC-548904FC2E25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78502" y="2276474"/>
            <a:ext cx="3736659" cy="3423445"/>
          </a:xfrm>
        </p:spPr>
        <p:txBody>
          <a:bodyPr/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GB" dirty="0"/>
          </a:p>
        </p:txBody>
      </p:sp>
      <p:sp>
        <p:nvSpPr>
          <p:cNvPr id="8" name="Date Placeholder 7">
            <a:extLst>
              <a:ext uri="{FF2B5EF4-FFF2-40B4-BE49-F238E27FC236}">
                <a16:creationId xmlns:a16="http://schemas.microsoft.com/office/drawing/2014/main" id="{76D78469-493C-A14B-9630-1E988E746B72}"/>
              </a:ext>
            </a:extLst>
          </p:cNvPr>
          <p:cNvSpPr>
            <a:spLocks noGrp="1"/>
          </p:cNvSpPr>
          <p:nvPr>
            <p:ph type="dt" sz="half" idx="17"/>
          </p:nvPr>
        </p:nvSpPr>
        <p:spPr/>
        <p:txBody>
          <a:bodyPr/>
          <a:lstStyle/>
          <a:p>
            <a:fld id="{FE24847D-0D43-1843-85F1-C9E6AA5AE424}" type="datetime1">
              <a:rPr lang="en-GB" smtClean="0"/>
              <a:t>01/11/2022</a:t>
            </a:fld>
            <a:endParaRPr lang="en-GB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C5175419-4D15-A44C-BB34-8749899E4E07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>
          <a:xfrm>
            <a:off x="492789" y="6541075"/>
            <a:ext cx="3722372" cy="138499"/>
          </a:xfrm>
        </p:spPr>
        <p:txBody>
          <a:bodyPr/>
          <a:lstStyle>
            <a:lvl1pPr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r>
              <a:rPr lang="en-US"/>
              <a:t>For institutional use only</a:t>
            </a:r>
            <a:endParaRPr lang="en-US" dirty="0"/>
          </a:p>
        </p:txBody>
      </p:sp>
      <p:sp>
        <p:nvSpPr>
          <p:cNvPr id="21" name="Slide Number Placeholder 20">
            <a:extLst>
              <a:ext uri="{FF2B5EF4-FFF2-40B4-BE49-F238E27FC236}">
                <a16:creationId xmlns:a16="http://schemas.microsoft.com/office/drawing/2014/main" id="{F3E68393-B9E1-A14C-9769-3791588EA99B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>
            <a:lvl1pPr algn="ctr">
              <a:defRPr>
                <a:solidFill>
                  <a:schemeClr val="bg1"/>
                </a:solidFill>
                <a:latin typeface="Arla InterFace" panose="020B0503020203020304" pitchFamily="34" charset="0"/>
              </a:defRPr>
            </a:lvl1pPr>
          </a:lstStyle>
          <a:p>
            <a:fld id="{659A96A6-0DB6-784E-9F89-91B18C95C43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ext Placeholder 18">
            <a:extLst>
              <a:ext uri="{FF2B5EF4-FFF2-40B4-BE49-F238E27FC236}">
                <a16:creationId xmlns:a16="http://schemas.microsoft.com/office/drawing/2014/main" id="{448A2EB8-DCDA-0A48-A130-FFE32DF4D6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479425" y="1719356"/>
            <a:ext cx="3736319" cy="300038"/>
          </a:xfrm>
        </p:spPr>
        <p:txBody>
          <a:bodyPr/>
          <a:lstStyle>
            <a:lvl1pPr>
              <a:spcBef>
                <a:spcPts val="0"/>
              </a:spcBef>
              <a:defRPr sz="1800" b="1" i="0">
                <a:solidFill>
                  <a:srgbClr val="9DB86B"/>
                </a:solidFill>
                <a:latin typeface="Arla InterFace" panose="020B0503020203020304" pitchFamily="34" charset="0"/>
              </a:defRPr>
            </a:lvl1pPr>
            <a:lvl2pPr>
              <a:spcBef>
                <a:spcPts val="0"/>
              </a:spcBef>
              <a:defRPr>
                <a:latin typeface="ARLA-Human-Bold" pitchFamily="2" charset="77"/>
              </a:defRPr>
            </a:lvl2pPr>
            <a:lvl3pPr>
              <a:spcBef>
                <a:spcPts val="0"/>
              </a:spcBef>
              <a:defRPr>
                <a:latin typeface="ARLA-Human-Bold" pitchFamily="2" charset="77"/>
              </a:defRPr>
            </a:lvl3pPr>
            <a:lvl4pPr>
              <a:spcBef>
                <a:spcPts val="0"/>
              </a:spcBef>
              <a:defRPr>
                <a:latin typeface="ARLA-Human-Bold" pitchFamily="2" charset="77"/>
              </a:defRPr>
            </a:lvl4pPr>
            <a:lvl5pPr>
              <a:spcBef>
                <a:spcPts val="0"/>
              </a:spcBef>
              <a:defRPr>
                <a:latin typeface="ARLA-Human-Bold" pitchFamily="2" charset="77"/>
              </a:defRPr>
            </a:lvl5pPr>
          </a:lstStyle>
          <a:p>
            <a:pPr lvl="0"/>
            <a:r>
              <a:rPr lang="en-GB" dirty="0"/>
              <a:t>Subtitle</a:t>
            </a:r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5809298D-B22C-6F47-BC08-F7D9A3C58D05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79425" y="471600"/>
            <a:ext cx="3736319" cy="393954"/>
          </a:xfrm>
        </p:spPr>
        <p:txBody>
          <a:bodyPr anchor="t"/>
          <a:lstStyle>
            <a:lvl1pPr>
              <a:defRPr>
                <a:solidFill>
                  <a:schemeClr val="accent1"/>
                </a:solidFill>
              </a:defRPr>
            </a:lvl1pPr>
          </a:lstStyle>
          <a:p>
            <a:r>
              <a:rPr lang="en-GB" dirty="0"/>
              <a:t>Title</a:t>
            </a:r>
          </a:p>
        </p:txBody>
      </p:sp>
      <p:sp>
        <p:nvSpPr>
          <p:cNvPr id="14" name="Text Placeholder 6">
            <a:extLst>
              <a:ext uri="{FF2B5EF4-FFF2-40B4-BE49-F238E27FC236}">
                <a16:creationId xmlns:a16="http://schemas.microsoft.com/office/drawing/2014/main" id="{92CBEF4A-D836-9D42-B0D5-E3C90A63B02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486440" y="6280722"/>
            <a:ext cx="3722400" cy="126161"/>
          </a:xfrm>
        </p:spPr>
        <p:txBody>
          <a:bodyPr wrap="square" anchor="b">
            <a:spAutoFit/>
          </a:bodyPr>
          <a:lstStyle>
            <a:lvl1pPr>
              <a:defRPr sz="900"/>
            </a:lvl1pPr>
          </a:lstStyle>
          <a:p>
            <a:r>
              <a:rPr lang="en-GB" dirty="0"/>
              <a:t>Source: Insert details if necessary</a:t>
            </a:r>
          </a:p>
        </p:txBody>
      </p:sp>
      <p:pic>
        <p:nvPicPr>
          <p:cNvPr id="15" name="Picture 14">
            <a:extLst>
              <a:ext uri="{FF2B5EF4-FFF2-40B4-BE49-F238E27FC236}">
                <a16:creationId xmlns:a16="http://schemas.microsoft.com/office/drawing/2014/main" id="{F5D10FB0-A7D1-504C-B30E-7DCC23D8249D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1584705" y="6418775"/>
            <a:ext cx="508000" cy="33959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144091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1434">
          <p15:clr>
            <a:srgbClr val="FBAE40"/>
          </p15:clr>
        </p15:guide>
        <p15:guide id="3" orient="horz" pos="2160">
          <p15:clr>
            <a:srgbClr val="FBAE40"/>
          </p15:clr>
        </p15:guide>
        <p15:guide id="5" pos="2887">
          <p15:clr>
            <a:srgbClr val="FBAE40"/>
          </p15:clr>
        </p15:guide>
        <p15:guide id="6" pos="960">
          <p15:clr>
            <a:srgbClr val="FBAE40"/>
          </p15:clr>
        </p15:guide>
        <p15:guide id="7" pos="4793">
          <p15:clr>
            <a:srgbClr val="FBAE40"/>
          </p15:clr>
        </p15:guide>
        <p15:guide id="8" pos="6720">
          <p15:clr>
            <a:srgbClr val="FBAE40"/>
          </p15:clr>
        </p15:guide>
        <p15:guide id="9" orient="horz" pos="731">
          <p15:clr>
            <a:srgbClr val="FBAE40"/>
          </p15:clr>
        </p15:guide>
        <p15:guide id="10" orient="horz" pos="3589">
          <p15:clr>
            <a:srgbClr val="FBAE40"/>
          </p15:clr>
        </p15:guide>
      </p15:sldGuideLst>
    </p:ext>
  </p:extLst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9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slideLayout" Target="../slideLayouts/slideLayout34.xml"/><Relationship Id="rId42" Type="http://schemas.openxmlformats.org/officeDocument/2006/relationships/oleObject" Target="../embeddings/oleObject1.bin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slideLayout" Target="../slideLayouts/slideLayout33.xml"/><Relationship Id="rId38" Type="http://schemas.openxmlformats.org/officeDocument/2006/relationships/slideLayout" Target="../slideLayouts/slideLayout38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41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slideLayout" Target="../slideLayouts/slideLayout32.xml"/><Relationship Id="rId37" Type="http://schemas.openxmlformats.org/officeDocument/2006/relationships/slideLayout" Target="../slideLayouts/slideLayout37.xml"/><Relationship Id="rId40" Type="http://schemas.openxmlformats.org/officeDocument/2006/relationships/vmlDrawing" Target="../drawings/vmlDrawing1.v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36" Type="http://schemas.openxmlformats.org/officeDocument/2006/relationships/slideLayout" Target="../slideLayouts/slideLayout36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slideLayout" Target="../slideLayouts/slideLayout31.xml"/><Relationship Id="rId44" Type="http://schemas.openxmlformats.org/officeDocument/2006/relationships/image" Target="../media/image2.tif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slideLayout" Target="../slideLayouts/slideLayout30.xml"/><Relationship Id="rId35" Type="http://schemas.openxmlformats.org/officeDocument/2006/relationships/slideLayout" Target="../slideLayouts/slideLayout35.xml"/><Relationship Id="rId43" Type="http://schemas.openxmlformats.org/officeDocument/2006/relationships/image" Target="../media/image1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3" name="Objekt 22" hidden="1">
            <a:extLst>
              <a:ext uri="{FF2B5EF4-FFF2-40B4-BE49-F238E27FC236}">
                <a16:creationId xmlns:a16="http://schemas.microsoft.com/office/drawing/2014/main" id="{846DC879-1C8D-4A31-AE7F-405DB1CC234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1"/>
            </p:custDataLst>
            <p:extLst>
              <p:ext uri="{D42A27DB-BD31-4B8C-83A1-F6EECF244321}">
                <p14:modId xmlns:p14="http://schemas.microsoft.com/office/powerpoint/2010/main" val="411964534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6" name="think-cell Slide" r:id="rId42" imgW="359" imgH="360" progId="TCLayout.ActiveDocument.1">
                  <p:embed/>
                </p:oleObj>
              </mc:Choice>
              <mc:Fallback>
                <p:oleObj name="think-cell Slide" r:id="rId42" imgW="359" imgH="360" progId="TCLayout.ActiveDocument.1">
                  <p:embed/>
                  <p:pic>
                    <p:nvPicPr>
                      <p:cNvPr id="23" name="Objekt 22" hidden="1">
                        <a:extLst>
                          <a:ext uri="{FF2B5EF4-FFF2-40B4-BE49-F238E27FC236}">
                            <a16:creationId xmlns:a16="http://schemas.microsoft.com/office/drawing/2014/main" id="{846DC879-1C8D-4A31-AE7F-405DB1CC23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78138966-8CB9-469E-8003-E9589125148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5938" y="512763"/>
            <a:ext cx="10149840" cy="344710"/>
          </a:xfrm>
          <a:prstGeom prst="rect">
            <a:avLst/>
          </a:prstGeom>
        </p:spPr>
        <p:txBody>
          <a:bodyPr vert="horz" lIns="0" tIns="0" rIns="0" bIns="0" rtlCol="0" anchor="ctr">
            <a:noAutofit/>
          </a:bodyPr>
          <a:lstStyle/>
          <a:p>
            <a:r>
              <a:rPr lang="da-DK"/>
              <a:t>Klik for at redigere titeltypografien i masteren</a:t>
            </a:r>
            <a:endParaRPr lang="en-US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6788CA0-BDFB-4422-AF77-1E12D9AA4891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515938" y="2276476"/>
            <a:ext cx="10152061" cy="3419856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a-DK"/>
              <a:t>Klik for at redigere teksttypografierne i masteren</a:t>
            </a:r>
          </a:p>
          <a:p>
            <a:pPr lvl="1"/>
            <a:r>
              <a:rPr lang="da-DK"/>
              <a:t>Andet niveau</a:t>
            </a:r>
          </a:p>
          <a:p>
            <a:pPr lvl="2"/>
            <a:r>
              <a:rPr lang="da-DK"/>
              <a:t>Tredje niveau</a:t>
            </a:r>
          </a:p>
          <a:p>
            <a:pPr lvl="3"/>
            <a:r>
              <a:rPr lang="da-DK"/>
              <a:t>Fjerde niveau</a:t>
            </a:r>
          </a:p>
          <a:p>
            <a:pPr lvl="4"/>
            <a:r>
              <a:rPr lang="da-DK"/>
              <a:t>Femte niveau</a:t>
            </a:r>
            <a:endParaRPr lang="en-US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E7F335B3-4C05-442F-BE1A-1ECBC22A6AAA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92788" y="6546960"/>
            <a:ext cx="10177272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900" smtClean="0">
                <a:solidFill>
                  <a:schemeClr val="accent4"/>
                </a:solidFill>
                <a:latin typeface="Arla InterFace W" panose="020B0503020203020304" pitchFamily="34" charset="77"/>
              </a:defRPr>
            </a:lvl1pPr>
          </a:lstStyle>
          <a:p>
            <a:r>
              <a:rPr lang="en-US"/>
              <a:t>For </a:t>
            </a:r>
            <a:r>
              <a:rPr lang="en-US">
                <a:latin typeface="Arla InterFace" panose="020B0503020203020304" pitchFamily="34" charset="0"/>
              </a:rPr>
              <a:t>institutional</a:t>
            </a:r>
            <a:r>
              <a:rPr lang="en-US"/>
              <a:t> use only</a:t>
            </a:r>
            <a:endParaRPr lang="en-US" dirty="0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824D68C2-E3F8-4787-A7A6-365C6CB3E17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0" y="6546960"/>
            <a:ext cx="493776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>
              <a:defRPr lang="en-GB" sz="900" smtClean="0">
                <a:solidFill>
                  <a:schemeClr val="accent4"/>
                </a:solidFill>
                <a:latin typeface="Arla InterFace" panose="020B0503020203020304" pitchFamily="34" charset="0"/>
              </a:defRPr>
            </a:lvl1pPr>
          </a:lstStyle>
          <a:p>
            <a:pPr algn="ctr"/>
            <a:fld id="{659A96A6-0DB6-784E-9F89-91B18C95C43E}" type="slidenum">
              <a:rPr lang="en-US" smtClean="0"/>
              <a:pPr algn="ctr"/>
              <a:t>‹#›</a:t>
            </a:fld>
            <a:endParaRPr lang="en-US" dirty="0"/>
          </a:p>
        </p:txBody>
      </p:sp>
      <p:grpSp>
        <p:nvGrpSpPr>
          <p:cNvPr id="7" name="Group 6">
            <a:extLst>
              <a:ext uri="{FF2B5EF4-FFF2-40B4-BE49-F238E27FC236}">
                <a16:creationId xmlns:a16="http://schemas.microsoft.com/office/drawing/2014/main" id="{383A6E22-D25E-44C9-8B42-A93F8030F7DB}"/>
              </a:ext>
            </a:extLst>
          </p:cNvPr>
          <p:cNvGrpSpPr/>
          <p:nvPr userDrawn="1"/>
        </p:nvGrpSpPr>
        <p:grpSpPr>
          <a:xfrm>
            <a:off x="-2" y="-370013"/>
            <a:ext cx="12192001" cy="281318"/>
            <a:chOff x="-1" y="1547482"/>
            <a:chExt cx="7022600" cy="224411"/>
          </a:xfrm>
          <a:noFill/>
        </p:grpSpPr>
        <p:sp>
          <p:nvSpPr>
            <p:cNvPr id="8" name="Rectangle 7">
              <a:extLst>
                <a:ext uri="{FF2B5EF4-FFF2-40B4-BE49-F238E27FC236}">
                  <a16:creationId xmlns:a16="http://schemas.microsoft.com/office/drawing/2014/main" id="{7B8DB1F2-F95F-4E8E-9E55-137776D94A29}"/>
                </a:ext>
              </a:extLst>
            </p:cNvPr>
            <p:cNvSpPr/>
            <p:nvPr userDrawn="1"/>
          </p:nvSpPr>
          <p:spPr>
            <a:xfrm>
              <a:off x="-1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9" name="Rectangle 8">
              <a:extLst>
                <a:ext uri="{FF2B5EF4-FFF2-40B4-BE49-F238E27FC236}">
                  <a16:creationId xmlns:a16="http://schemas.microsoft.com/office/drawing/2014/main" id="{DDEEEC57-5E84-46F5-8029-C524752F5CD9}"/>
                </a:ext>
              </a:extLst>
            </p:cNvPr>
            <p:cNvSpPr/>
            <p:nvPr userDrawn="1"/>
          </p:nvSpPr>
          <p:spPr>
            <a:xfrm>
              <a:off x="87782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0" name="Rectangle 9">
              <a:extLst>
                <a:ext uri="{FF2B5EF4-FFF2-40B4-BE49-F238E27FC236}">
                  <a16:creationId xmlns:a16="http://schemas.microsoft.com/office/drawing/2014/main" id="{287DD7F8-2563-487B-9C60-D7443834255F}"/>
                </a:ext>
              </a:extLst>
            </p:cNvPr>
            <p:cNvSpPr/>
            <p:nvPr userDrawn="1"/>
          </p:nvSpPr>
          <p:spPr>
            <a:xfrm>
              <a:off x="1755649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1" name="Rectangle 10">
              <a:extLst>
                <a:ext uri="{FF2B5EF4-FFF2-40B4-BE49-F238E27FC236}">
                  <a16:creationId xmlns:a16="http://schemas.microsoft.com/office/drawing/2014/main" id="{05F763C5-A4E8-4C1E-AF40-92D642B9C3D0}"/>
                </a:ext>
              </a:extLst>
            </p:cNvPr>
            <p:cNvSpPr/>
            <p:nvPr userDrawn="1"/>
          </p:nvSpPr>
          <p:spPr>
            <a:xfrm>
              <a:off x="263347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2" name="Rectangle 11">
              <a:extLst>
                <a:ext uri="{FF2B5EF4-FFF2-40B4-BE49-F238E27FC236}">
                  <a16:creationId xmlns:a16="http://schemas.microsoft.com/office/drawing/2014/main" id="{9B0CC415-839B-4318-8959-8F610A89FD0A}"/>
                </a:ext>
              </a:extLst>
            </p:cNvPr>
            <p:cNvSpPr/>
            <p:nvPr userDrawn="1"/>
          </p:nvSpPr>
          <p:spPr>
            <a:xfrm>
              <a:off x="3511299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3" name="Rectangle 12">
              <a:extLst>
                <a:ext uri="{FF2B5EF4-FFF2-40B4-BE49-F238E27FC236}">
                  <a16:creationId xmlns:a16="http://schemas.microsoft.com/office/drawing/2014/main" id="{443880A8-D0DD-49C8-B333-F248439823DB}"/>
                </a:ext>
              </a:extLst>
            </p:cNvPr>
            <p:cNvSpPr/>
            <p:nvPr userDrawn="1"/>
          </p:nvSpPr>
          <p:spPr>
            <a:xfrm>
              <a:off x="438912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4" name="Rectangle 13">
              <a:extLst>
                <a:ext uri="{FF2B5EF4-FFF2-40B4-BE49-F238E27FC236}">
                  <a16:creationId xmlns:a16="http://schemas.microsoft.com/office/drawing/2014/main" id="{19A44362-5F8F-40DF-A0E5-623C427DBCAB}"/>
                </a:ext>
              </a:extLst>
            </p:cNvPr>
            <p:cNvSpPr/>
            <p:nvPr userDrawn="1"/>
          </p:nvSpPr>
          <p:spPr>
            <a:xfrm>
              <a:off x="5266949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5" name="Rectangle 14">
              <a:extLst>
                <a:ext uri="{FF2B5EF4-FFF2-40B4-BE49-F238E27FC236}">
                  <a16:creationId xmlns:a16="http://schemas.microsoft.com/office/drawing/2014/main" id="{8BA9CD2A-B396-4ED4-8CB5-8AB7FA446740}"/>
                </a:ext>
              </a:extLst>
            </p:cNvPr>
            <p:cNvSpPr/>
            <p:nvPr userDrawn="1"/>
          </p:nvSpPr>
          <p:spPr>
            <a:xfrm>
              <a:off x="614477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grpSp>
        <p:nvGrpSpPr>
          <p:cNvPr id="16" name="Group 15">
            <a:extLst>
              <a:ext uri="{FF2B5EF4-FFF2-40B4-BE49-F238E27FC236}">
                <a16:creationId xmlns:a16="http://schemas.microsoft.com/office/drawing/2014/main" id="{2A57CAAD-22CA-4937-86B6-F2EB73896D3A}"/>
              </a:ext>
            </a:extLst>
          </p:cNvPr>
          <p:cNvGrpSpPr/>
          <p:nvPr userDrawn="1"/>
        </p:nvGrpSpPr>
        <p:grpSpPr>
          <a:xfrm rot="5400000">
            <a:off x="-3689830" y="3272945"/>
            <a:ext cx="6858000" cy="312110"/>
            <a:chOff x="-1" y="1547482"/>
            <a:chExt cx="5266950" cy="224411"/>
          </a:xfrm>
          <a:noFill/>
        </p:grpSpPr>
        <p:sp>
          <p:nvSpPr>
            <p:cNvPr id="17" name="Rectangle 16">
              <a:extLst>
                <a:ext uri="{FF2B5EF4-FFF2-40B4-BE49-F238E27FC236}">
                  <a16:creationId xmlns:a16="http://schemas.microsoft.com/office/drawing/2014/main" id="{5D0971C6-232F-4EAC-A8AB-7B7300B0FB7D}"/>
                </a:ext>
              </a:extLst>
            </p:cNvPr>
            <p:cNvSpPr/>
            <p:nvPr userDrawn="1"/>
          </p:nvSpPr>
          <p:spPr>
            <a:xfrm>
              <a:off x="-1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8" name="Rectangle 17">
              <a:extLst>
                <a:ext uri="{FF2B5EF4-FFF2-40B4-BE49-F238E27FC236}">
                  <a16:creationId xmlns:a16="http://schemas.microsoft.com/office/drawing/2014/main" id="{EFA7081D-4A0F-41D6-90AE-405F679FD8E9}"/>
                </a:ext>
              </a:extLst>
            </p:cNvPr>
            <p:cNvSpPr/>
            <p:nvPr userDrawn="1"/>
          </p:nvSpPr>
          <p:spPr>
            <a:xfrm>
              <a:off x="87782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19" name="Rectangle 18">
              <a:extLst>
                <a:ext uri="{FF2B5EF4-FFF2-40B4-BE49-F238E27FC236}">
                  <a16:creationId xmlns:a16="http://schemas.microsoft.com/office/drawing/2014/main" id="{83388B77-1DB5-454D-88A5-BC94D032B55F}"/>
                </a:ext>
              </a:extLst>
            </p:cNvPr>
            <p:cNvSpPr/>
            <p:nvPr userDrawn="1"/>
          </p:nvSpPr>
          <p:spPr>
            <a:xfrm>
              <a:off x="1755649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0" name="Rectangle 19">
              <a:extLst>
                <a:ext uri="{FF2B5EF4-FFF2-40B4-BE49-F238E27FC236}">
                  <a16:creationId xmlns:a16="http://schemas.microsoft.com/office/drawing/2014/main" id="{466DBAC4-B2D8-43CF-AF52-E137201CD01C}"/>
                </a:ext>
              </a:extLst>
            </p:cNvPr>
            <p:cNvSpPr/>
            <p:nvPr userDrawn="1"/>
          </p:nvSpPr>
          <p:spPr>
            <a:xfrm>
              <a:off x="263347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1" name="Rectangle 20">
              <a:extLst>
                <a:ext uri="{FF2B5EF4-FFF2-40B4-BE49-F238E27FC236}">
                  <a16:creationId xmlns:a16="http://schemas.microsoft.com/office/drawing/2014/main" id="{852FADB0-FEB8-4D43-AFD6-C020D3A174B7}"/>
                </a:ext>
              </a:extLst>
            </p:cNvPr>
            <p:cNvSpPr/>
            <p:nvPr userDrawn="1"/>
          </p:nvSpPr>
          <p:spPr>
            <a:xfrm>
              <a:off x="3511299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  <p:sp>
          <p:nvSpPr>
            <p:cNvPr id="22" name="Rectangle 21">
              <a:extLst>
                <a:ext uri="{FF2B5EF4-FFF2-40B4-BE49-F238E27FC236}">
                  <a16:creationId xmlns:a16="http://schemas.microsoft.com/office/drawing/2014/main" id="{029534C8-2A41-462D-AEF2-C8241FC65915}"/>
                </a:ext>
              </a:extLst>
            </p:cNvPr>
            <p:cNvSpPr/>
            <p:nvPr userDrawn="1"/>
          </p:nvSpPr>
          <p:spPr>
            <a:xfrm>
              <a:off x="4389124" y="1547482"/>
              <a:ext cx="877825" cy="224411"/>
            </a:xfrm>
            <a:prstGeom prst="rect">
              <a:avLst/>
            </a:prstGeom>
            <a:grp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GB"/>
            </a:p>
          </p:txBody>
        </p:sp>
      </p:grpSp>
      <p:sp>
        <p:nvSpPr>
          <p:cNvPr id="34" name="Date Placeholder 3">
            <a:extLst>
              <a:ext uri="{FF2B5EF4-FFF2-40B4-BE49-F238E27FC236}">
                <a16:creationId xmlns:a16="http://schemas.microsoft.com/office/drawing/2014/main" id="{85FE7F71-5656-491F-A311-75601A31733E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 rot="5400000">
            <a:off x="11627450" y="437010"/>
            <a:ext cx="990600" cy="138499"/>
          </a:xfrm>
          <a:prstGeom prst="rect">
            <a:avLst/>
          </a:prstGeom>
        </p:spPr>
        <p:txBody>
          <a:bodyPr vert="horz" wrap="square" lIns="0" tIns="0" rIns="0" bIns="0" rtlCol="0" anchor="ctr">
            <a:spAutoFit/>
          </a:bodyPr>
          <a:lstStyle>
            <a:lvl1pPr algn="l">
              <a:defRPr sz="900">
                <a:solidFill>
                  <a:srgbClr val="9DB86B"/>
                </a:solidFill>
                <a:latin typeface="Arla InterFace W" panose="020B0503020203020304" pitchFamily="34" charset="77"/>
              </a:defRPr>
            </a:lvl1pPr>
          </a:lstStyle>
          <a:p>
            <a:fld id="{401DCF0F-B7FE-7C4C-A282-9BC17FD12FBD}" type="datetime1">
              <a:rPr lang="en-GB" smtClean="0"/>
              <a:t>01/11/2022</a:t>
            </a:fld>
            <a:endParaRPr lang="en-GB"/>
          </a:p>
        </p:txBody>
      </p:sp>
      <p:pic>
        <p:nvPicPr>
          <p:cNvPr id="35" name="Picture 34">
            <a:extLst>
              <a:ext uri="{FF2B5EF4-FFF2-40B4-BE49-F238E27FC236}">
                <a16:creationId xmlns:a16="http://schemas.microsoft.com/office/drawing/2014/main" id="{2D991EDF-DD34-4F4D-A93D-41AD74BD3FAE}"/>
              </a:ext>
            </a:extLst>
          </p:cNvPr>
          <p:cNvPicPr>
            <a:picLocks noChangeAspect="1"/>
          </p:cNvPicPr>
          <p:nvPr userDrawn="1"/>
        </p:nvPicPr>
        <p:blipFill>
          <a:blip r:embed="rId44"/>
          <a:stretch>
            <a:fillRect/>
          </a:stretch>
        </p:blipFill>
        <p:spPr>
          <a:xfrm>
            <a:off x="4476" y="-1407176"/>
            <a:ext cx="11328400" cy="12446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50357407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96" r:id="rId1"/>
    <p:sldLayoutId id="2147483797" r:id="rId2"/>
    <p:sldLayoutId id="2147483798" r:id="rId3"/>
    <p:sldLayoutId id="2147483799" r:id="rId4"/>
    <p:sldLayoutId id="2147483800" r:id="rId5"/>
    <p:sldLayoutId id="2147483801" r:id="rId6"/>
    <p:sldLayoutId id="2147483802" r:id="rId7"/>
    <p:sldLayoutId id="2147483803" r:id="rId8"/>
    <p:sldLayoutId id="2147483804" r:id="rId9"/>
    <p:sldLayoutId id="2147483805" r:id="rId10"/>
    <p:sldLayoutId id="2147483806" r:id="rId11"/>
    <p:sldLayoutId id="2147483807" r:id="rId12"/>
    <p:sldLayoutId id="2147483808" r:id="rId13"/>
    <p:sldLayoutId id="2147483809" r:id="rId14"/>
    <p:sldLayoutId id="2147483810" r:id="rId15"/>
    <p:sldLayoutId id="2147483811" r:id="rId16"/>
    <p:sldLayoutId id="2147483812" r:id="rId17"/>
    <p:sldLayoutId id="2147483813" r:id="rId18"/>
    <p:sldLayoutId id="2147483814" r:id="rId19"/>
    <p:sldLayoutId id="2147483815" r:id="rId20"/>
    <p:sldLayoutId id="2147483816" r:id="rId21"/>
    <p:sldLayoutId id="2147483817" r:id="rId22"/>
    <p:sldLayoutId id="2147483818" r:id="rId23"/>
    <p:sldLayoutId id="2147483819" r:id="rId24"/>
    <p:sldLayoutId id="2147483820" r:id="rId25"/>
    <p:sldLayoutId id="2147483821" r:id="rId26"/>
    <p:sldLayoutId id="2147483822" r:id="rId27"/>
    <p:sldLayoutId id="2147483823" r:id="rId28"/>
    <p:sldLayoutId id="2147483824" r:id="rId29"/>
    <p:sldLayoutId id="2147483825" r:id="rId30"/>
    <p:sldLayoutId id="2147483826" r:id="rId31"/>
    <p:sldLayoutId id="2147483827" r:id="rId32"/>
    <p:sldLayoutId id="2147483828" r:id="rId33"/>
    <p:sldLayoutId id="2147483829" r:id="rId34"/>
    <p:sldLayoutId id="2147483830" r:id="rId35"/>
    <p:sldLayoutId id="2147483831" r:id="rId36"/>
    <p:sldLayoutId id="2147483832" r:id="rId37"/>
    <p:sldLayoutId id="2147483833" r:id="rId38"/>
  </p:sldLayoutIdLst>
  <p:hf hdr="0" dt="0"/>
  <p:txStyles>
    <p:titleStyle>
      <a:lvl1pPr algn="l" defTabSz="914400" rtl="0" eaLnBrk="1" latinLnBrk="0" hangingPunct="1">
        <a:lnSpc>
          <a:spcPct val="80000"/>
        </a:lnSpc>
        <a:spcBef>
          <a:spcPct val="0"/>
        </a:spcBef>
        <a:buNone/>
        <a:defRPr lang="en-US" sz="2800" b="1" kern="1200" cap="all" baseline="0" dirty="0">
          <a:solidFill>
            <a:schemeClr val="accent1"/>
          </a:solidFill>
          <a:latin typeface="ARLA STRONG" pitchFamily="2" charset="0"/>
          <a:ea typeface="+mj-ea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accent1"/>
          </a:solidFill>
          <a:latin typeface="Arla InterFace" panose="020B0503020203020304" pitchFamily="34" charset="0"/>
          <a:ea typeface="+mn-ea"/>
          <a:cs typeface="+mn-cs"/>
        </a:defRPr>
      </a:lvl1pPr>
      <a:lvl2pPr marL="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Arial" panose="020B0604020202020204" pitchFamily="34" charset="0"/>
        <a:buChar char="•"/>
        <a:defRPr sz="1400" kern="1200">
          <a:solidFill>
            <a:schemeClr val="accent1"/>
          </a:solidFill>
          <a:latin typeface="Arla InterFace" panose="020B0503020203020304" pitchFamily="34" charset="0"/>
          <a:ea typeface="+mn-ea"/>
          <a:cs typeface="+mn-cs"/>
        </a:defRPr>
      </a:lvl2pPr>
      <a:lvl3pPr marL="365760" indent="-182880" algn="l" defTabSz="914400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Font typeface="System Font"/>
        <a:buChar char="–"/>
        <a:defRPr sz="1400" kern="1200">
          <a:solidFill>
            <a:schemeClr val="accent1"/>
          </a:solidFill>
          <a:latin typeface="Arla InterFace" panose="020B0503020203020304" pitchFamily="34" charset="0"/>
          <a:ea typeface="+mn-ea"/>
          <a:cs typeface="+mn-cs"/>
        </a:defRPr>
      </a:lvl3pPr>
      <a:lvl4pPr marL="0" indent="0" algn="l" defTabSz="914400" rtl="0" eaLnBrk="1" latinLnBrk="0" hangingPunct="1">
        <a:lnSpc>
          <a:spcPct val="100000"/>
        </a:lnSpc>
        <a:spcBef>
          <a:spcPts val="1800"/>
        </a:spcBef>
        <a:spcAft>
          <a:spcPts val="0"/>
        </a:spcAft>
        <a:buFont typeface="Arial" panose="020B0604020202020204" pitchFamily="34" charset="0"/>
        <a:buNone/>
        <a:defRPr sz="1400" kern="1200">
          <a:solidFill>
            <a:schemeClr val="accent1"/>
          </a:solidFill>
          <a:latin typeface="Arla InterFace" panose="020B0503020203020304" pitchFamily="34" charset="0"/>
          <a:ea typeface="+mn-ea"/>
          <a:cs typeface="+mn-cs"/>
        </a:defRPr>
      </a:lvl4pPr>
      <a:lvl5pPr marL="0" indent="0" algn="l" defTabSz="914400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Font typeface="Arial" panose="020B0604020202020204" pitchFamily="34" charset="0"/>
        <a:buNone/>
        <a:defRPr sz="1000" kern="1200">
          <a:solidFill>
            <a:schemeClr val="accent1"/>
          </a:solidFill>
          <a:latin typeface="Arla InterFace" panose="020B0503020203020304" pitchFamily="34" charset="0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pos="3840">
          <p15:clr>
            <a:srgbClr val="F26B43"/>
          </p15:clr>
        </p15:guide>
        <p15:guide id="2" pos="5768">
          <p15:clr>
            <a:srgbClr val="F26B43"/>
          </p15:clr>
        </p15:guide>
        <p15:guide id="3" pos="1912">
          <p15:clr>
            <a:srgbClr val="F26B43"/>
          </p15:clr>
        </p15:guide>
        <p15:guide id="4" orient="horz" pos="2886">
          <p15:clr>
            <a:srgbClr val="F26B43"/>
          </p15:clr>
        </p15:guide>
        <p15:guide id="5" orient="horz" pos="1434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3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2" name="Title 1">
            <a:extLst>
              <a:ext uri="{FF2B5EF4-FFF2-40B4-BE49-F238E27FC236}">
                <a16:creationId xmlns:a16="http://schemas.microsoft.com/office/drawing/2014/main" id="{C598A242-46FB-456B-BB32-F8C0547237C5}"/>
              </a:ext>
            </a:extLst>
          </p:cNvPr>
          <p:cNvSpPr txBox="1">
            <a:spLocks/>
          </p:cNvSpPr>
          <p:nvPr/>
        </p:nvSpPr>
        <p:spPr>
          <a:xfrm>
            <a:off x="101230" y="67901"/>
            <a:ext cx="8382000" cy="761665"/>
          </a:xfrm>
          <a:prstGeom prst="rect">
            <a:avLst/>
          </a:prstGeom>
        </p:spPr>
        <p:txBody>
          <a:bodyPr vert="horz" wrap="square" lIns="0" tIns="0" rIns="0" bIns="0" rtlCol="0" anchor="t" anchorCtr="0">
            <a:no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3200" b="1" kern="1200">
                <a:solidFill>
                  <a:schemeClr val="tx2"/>
                </a:solidFill>
                <a:latin typeface="Calibri" pitchFamily="34" charset="0"/>
                <a:ea typeface="+mj-ea"/>
                <a:cs typeface="+mj-cs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63E42">
                    <a:lumMod val="50000"/>
                  </a:srgbClr>
                </a:solidFill>
                <a:effectLst/>
                <a:uLnTx/>
                <a:uFillTx/>
                <a:latin typeface="ARLA STRONG"/>
                <a:ea typeface="+mj-ea"/>
                <a:cs typeface="+mj-cs"/>
              </a:rPr>
              <a:t>Decision making one pager – Opsummerings</a:t>
            </a:r>
            <a:r>
              <a:rPr lang="da-DK" sz="1400" b="0" dirty="0">
                <a:solidFill>
                  <a:srgbClr val="363E42">
                    <a:lumMod val="50000"/>
                  </a:srgbClr>
                </a:solidFill>
                <a:latin typeface="ARLA STRONG"/>
              </a:rPr>
              <a:t>-</a:t>
            </a:r>
            <a:r>
              <a:rPr kumimoji="0" lang="da-DK" sz="1400" b="0" i="0" u="none" strike="noStrike" kern="1200" cap="none" spc="0" normalizeH="0" baseline="0" noProof="0" dirty="0">
                <a:ln>
                  <a:noFill/>
                </a:ln>
                <a:solidFill>
                  <a:srgbClr val="363E42">
                    <a:lumMod val="50000"/>
                  </a:srgbClr>
                </a:solidFill>
                <a:effectLst/>
                <a:uLnTx/>
                <a:uFillTx/>
                <a:latin typeface="ARLA STRONG"/>
                <a:ea typeface="+mj-ea"/>
                <a:cs typeface="+mj-cs"/>
              </a:rPr>
              <a:t>slide for resultater</a:t>
            </a: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400" b="0" i="0" u="none" strike="noStrike" kern="1200" cap="none" spc="0" normalizeH="0" baseline="0" noProof="0" dirty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STRONG"/>
              <a:ea typeface="+mj-ea"/>
              <a:cs typeface="+mj-cs"/>
            </a:endParaRPr>
          </a:p>
        </p:txBody>
      </p:sp>
      <p:pic>
        <p:nvPicPr>
          <p:cNvPr id="63" name="Picture 10">
            <a:extLst>
              <a:ext uri="{FF2B5EF4-FFF2-40B4-BE49-F238E27FC236}">
                <a16:creationId xmlns:a16="http://schemas.microsoft.com/office/drawing/2014/main" id="{98A95DB0-6BE2-4B44-AB2A-718D098E4B93}"/>
              </a:ext>
            </a:extLst>
          </p:cNvPr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1081481" y="105511"/>
            <a:ext cx="1009084" cy="1021697"/>
          </a:xfrm>
          <a:prstGeom prst="rect">
            <a:avLst/>
          </a:prstGeom>
        </p:spPr>
      </p:pic>
      <p:sp>
        <p:nvSpPr>
          <p:cNvPr id="71" name="Rectangle 12">
            <a:extLst>
              <a:ext uri="{FF2B5EF4-FFF2-40B4-BE49-F238E27FC236}">
                <a16:creationId xmlns:a16="http://schemas.microsoft.com/office/drawing/2014/main" id="{036685A7-29D9-4C4E-9000-807F7171D289}"/>
              </a:ext>
            </a:extLst>
          </p:cNvPr>
          <p:cNvSpPr/>
          <p:nvPr/>
        </p:nvSpPr>
        <p:spPr>
          <a:xfrm>
            <a:off x="120658" y="2300813"/>
            <a:ext cx="3564000" cy="4354874"/>
          </a:xfrm>
          <a:prstGeom prst="rect">
            <a:avLst/>
          </a:prstGeom>
          <a:noFill/>
          <a:ln w="28575" cap="flat" cmpd="sng" algn="ctr">
            <a:solidFill>
              <a:srgbClr val="0C3E65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432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Giv en kort beskrivelse af de(t) givne koncepter</a:t>
            </a: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/resultater i har fundet på, og forklar den værdi det har for kunderne.</a:t>
            </a:r>
            <a:endParaRPr kumimoji="0" lang="da-DK" sz="1000" b="0" i="1" u="none" strike="noStrike" kern="0" cap="none" spc="0" normalizeH="0" baseline="0" noProof="0" dirty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i="1" kern="0" dirty="0">
              <a:solidFill>
                <a:srgbClr val="363E42"/>
              </a:solidFill>
              <a:latin typeface="Arla InterFace Light" panose="020B04030202030203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Hvorfor er det vigtigt for kunden?, hvilket behov eller problem imødekommer konceptet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F.eks. Arla Protein der henvender sig til fitness/træning segmentet med proteinrige, rene, naturlige og velsmagende produkter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i="1" kern="0" dirty="0">
              <a:solidFill>
                <a:srgbClr val="363E42"/>
              </a:solidFill>
              <a:latin typeface="Arla InterFace Light" panose="020B04030202030203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1" u="none" strike="noStrike" kern="0" cap="none" spc="0" normalizeH="0" baseline="0" noProof="0" dirty="0" err="1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</p:txBody>
      </p:sp>
      <p:sp>
        <p:nvSpPr>
          <p:cNvPr id="72" name="Rectangle 13">
            <a:extLst>
              <a:ext uri="{FF2B5EF4-FFF2-40B4-BE49-F238E27FC236}">
                <a16:creationId xmlns:a16="http://schemas.microsoft.com/office/drawing/2014/main" id="{0E773C16-1846-4ABA-8068-6D267CD32F1F}"/>
              </a:ext>
            </a:extLst>
          </p:cNvPr>
          <p:cNvSpPr/>
          <p:nvPr/>
        </p:nvSpPr>
        <p:spPr>
          <a:xfrm>
            <a:off x="7431864" y="2302964"/>
            <a:ext cx="3564000" cy="2139988"/>
          </a:xfrm>
          <a:prstGeom prst="rect">
            <a:avLst/>
          </a:prstGeom>
          <a:noFill/>
          <a:ln w="28575" cap="flat" cmpd="sng" algn="ctr">
            <a:solidFill>
              <a:srgbClr val="7FAC84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432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Beskriv  formålet og tiltrækningskraften fra et Arla perspektiv</a:t>
            </a: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, både strategisk og finansielt.</a:t>
            </a:r>
            <a:endParaRPr kumimoji="0" lang="da-DK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5386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3F4542"/>
                </a:solidFill>
                <a:effectLst/>
                <a:uLnTx/>
                <a:uFillTx/>
                <a:latin typeface="Arla InterFace Light" panose="020B0403020203020304" pitchFamily="34" charset="0"/>
                <a:ea typeface="SimSun"/>
                <a:cs typeface="Times New Roman"/>
              </a:rPr>
              <a:t>Hvor godt understøtter konceptet den 2026 strategi for mælk eller mælkebaserede drikke, som I finder i baggrundsmaterialet? </a:t>
            </a:r>
          </a:p>
          <a:p>
            <a:pPr marL="0" marR="0" lvl="0" indent="0" algn="l" defTabSz="538664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1200" cap="none" spc="0" normalizeH="0" baseline="0" noProof="0" dirty="0">
                <a:ln>
                  <a:noFill/>
                </a:ln>
                <a:solidFill>
                  <a:srgbClr val="3F4542"/>
                </a:solidFill>
                <a:effectLst/>
                <a:uLnTx/>
                <a:uFillTx/>
                <a:latin typeface="Arla InterFace Light" panose="020B0403020203020304" pitchFamily="34" charset="0"/>
                <a:ea typeface="SimSun"/>
                <a:cs typeface="Times New Roman"/>
              </a:rPr>
              <a:t>Hvor meget forventes konceptet at sælge på markedet?</a:t>
            </a:r>
            <a:endParaRPr kumimoji="0" lang="da-DK" sz="900" b="0" i="1" u="none" strike="noStrike" kern="1200" cap="none" spc="0" normalizeH="0" baseline="0" noProof="0" dirty="0">
              <a:ln>
                <a:noFill/>
              </a:ln>
              <a:solidFill>
                <a:srgbClr val="3F4542"/>
              </a:solidFill>
              <a:effectLst/>
              <a:uLnTx/>
              <a:uFillTx/>
              <a:latin typeface="Arla InterFace Light" panose="020B0403020203020304" pitchFamily="34" charset="0"/>
              <a:ea typeface="SimSu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</p:txBody>
      </p:sp>
      <p:sp>
        <p:nvSpPr>
          <p:cNvPr id="76" name="TextBox 34">
            <a:extLst>
              <a:ext uri="{FF2B5EF4-FFF2-40B4-BE49-F238E27FC236}">
                <a16:creationId xmlns:a16="http://schemas.microsoft.com/office/drawing/2014/main" id="{E4F5AF45-2B1D-4855-923D-AC45A19A9278}"/>
              </a:ext>
            </a:extLst>
          </p:cNvPr>
          <p:cNvSpPr txBox="1"/>
          <p:nvPr/>
        </p:nvSpPr>
        <p:spPr>
          <a:xfrm>
            <a:off x="64595" y="538104"/>
            <a:ext cx="4122843" cy="253916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50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STRONG" panose="00000500000000000000" pitchFamily="2" charset="0"/>
                <a:ea typeface="+mn-ea"/>
                <a:cs typeface="+mn-cs"/>
              </a:rPr>
              <a:t>Centrale risici og afværgelsesplan</a:t>
            </a:r>
          </a:p>
        </p:txBody>
      </p:sp>
      <p:graphicFrame>
        <p:nvGraphicFramePr>
          <p:cNvPr id="77" name="Table 33">
            <a:extLst>
              <a:ext uri="{FF2B5EF4-FFF2-40B4-BE49-F238E27FC236}">
                <a16:creationId xmlns:a16="http://schemas.microsoft.com/office/drawing/2014/main" id="{1700FB59-883F-4194-AFC7-7E646018D4CA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814756896"/>
              </p:ext>
            </p:extLst>
          </p:nvPr>
        </p:nvGraphicFramePr>
        <p:xfrm>
          <a:off x="134268" y="790135"/>
          <a:ext cx="6240895" cy="1098489"/>
        </p:xfrm>
        <a:graphic>
          <a:graphicData uri="http://schemas.openxmlformats.org/drawingml/2006/table">
            <a:tbl>
              <a:tblPr firstRow="1" bandRow="1"/>
              <a:tblGrid>
                <a:gridCol w="246614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623470">
                  <a:extLst>
                    <a:ext uri="{9D8B030D-6E8A-4147-A177-3AD203B41FA5}">
                      <a16:colId xmlns:a16="http://schemas.microsoft.com/office/drawing/2014/main" val="609994083"/>
                    </a:ext>
                  </a:extLst>
                </a:gridCol>
                <a:gridCol w="3151278">
                  <a:extLst>
                    <a:ext uri="{9D8B030D-6E8A-4147-A177-3AD203B41FA5}">
                      <a16:colId xmlns:a16="http://schemas.microsoft.com/office/drawing/2014/main" val="2554214988"/>
                    </a:ext>
                  </a:extLst>
                </a:gridCol>
              </a:tblGrid>
              <a:tr h="298709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9pPr>
                    </a:lstStyle>
                    <a:p>
                      <a:pPr algn="ctr"/>
                      <a:r>
                        <a:rPr lang="da-DK" sz="900" b="0" noProof="0" dirty="0">
                          <a:solidFill>
                            <a:schemeClr val="tx1"/>
                          </a:solidFill>
                          <a:latin typeface="ARLA STRONG" panose="00000500000000000000" pitchFamily="2" charset="0"/>
                        </a:rPr>
                        <a:t>Centrale risici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9pPr>
                    </a:lstStyle>
                    <a:p>
                      <a:pPr algn="ctr"/>
                      <a:r>
                        <a:rPr lang="da-DK" sz="900" b="0" noProof="0" dirty="0">
                          <a:solidFill>
                            <a:schemeClr val="tx1"/>
                          </a:solidFill>
                          <a:latin typeface="ARLA STRONG" panose="00000500000000000000" pitchFamily="2" charset="0"/>
                        </a:rPr>
                        <a:t>Niveau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b="1" kern="1200">
                          <a:solidFill>
                            <a:schemeClr val="lt1"/>
                          </a:solidFill>
                          <a:latin typeface="Arla InterFace"/>
                        </a:defRPr>
                      </a:lvl9pPr>
                    </a:lstStyle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da-DK" sz="900" b="0" noProof="0" dirty="0">
                          <a:solidFill>
                            <a:schemeClr val="tx1"/>
                          </a:solidFill>
                          <a:latin typeface="ARLA STRONG" panose="00000500000000000000" pitchFamily="2" charset="0"/>
                        </a:rPr>
                        <a:t>foranstaltninger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244300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Brugerne forstår ikke anvendelsen af produktet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algn="ctr"/>
                      <a:r>
                        <a:rPr lang="da-DK" sz="900" b="1" noProof="0" dirty="0">
                          <a:solidFill>
                            <a:schemeClr val="bg1"/>
                          </a:solidFill>
                          <a:latin typeface="Arla InterFace Light" panose="020B0403020203020304" pitchFamily="34" charset="0"/>
                        </a:rPr>
                        <a:t>Lav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00B05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Inddrage guidelines/inspiration på eller i emballagen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1920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Salgsvolumen er markant mindre end forventet</a:t>
                      </a:r>
                    </a:p>
                  </a:txBody>
                  <a:tcPr marL="33231" marR="33231" marT="36000" marB="36000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marL="72000" indent="-72000" algn="ctr"/>
                      <a:r>
                        <a:rPr lang="da-DK" sz="900" b="1" noProof="0">
                          <a:solidFill>
                            <a:schemeClr val="bg1"/>
                          </a:solidFill>
                          <a:latin typeface="Arla InterFace Light" panose="020B0403020203020304" pitchFamily="34" charset="0"/>
                        </a:rPr>
                        <a:t>Medium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C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marL="72000" indent="-72000"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Øg markedsføringen af løsningen og revurdér salgskanalerne</a:t>
                      </a:r>
                    </a:p>
                  </a:txBody>
                  <a:tcPr marL="33231" marR="33231" marT="36000" marB="36000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192088"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De nødvendige ressourcer kan ikke skaffes </a:t>
                      </a:r>
                    </a:p>
                  </a:txBody>
                  <a:tcPr marL="33231" marR="33231" marT="36000" marB="36000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marL="72000" indent="-72000" algn="ctr"/>
                      <a:r>
                        <a:rPr lang="da-DK" sz="900" b="1" noProof="0">
                          <a:solidFill>
                            <a:schemeClr val="bg1"/>
                          </a:solidFill>
                          <a:latin typeface="Arla InterFace Light" panose="020B0403020203020304" pitchFamily="34" charset="0"/>
                        </a:rPr>
                        <a:t>Høj</a:t>
                      </a:r>
                    </a:p>
                  </a:txBody>
                  <a:tcPr marL="33231" marR="33231" marT="36000" marB="36000" anchor="ctr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FF0000"/>
                    </a:solidFill>
                  </a:tcPr>
                </a:tc>
                <a:tc>
                  <a:txBody>
                    <a:bodyPr/>
                    <a:lstStyle>
                      <a:lvl1pPr marL="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1pPr>
                      <a:lvl2pPr marL="457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2pPr>
                      <a:lvl3pPr marL="914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3pPr>
                      <a:lvl4pPr marL="1371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4pPr>
                      <a:lvl5pPr marL="18288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5pPr>
                      <a:lvl6pPr marL="22860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6pPr>
                      <a:lvl7pPr marL="27432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7pPr>
                      <a:lvl8pPr marL="32004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8pPr>
                      <a:lvl9pPr marL="3657600" algn="l" defTabSz="914400" rtl="0" eaLnBrk="1" latinLnBrk="0" hangingPunct="1">
                        <a:defRPr sz="1800" kern="1200">
                          <a:solidFill>
                            <a:schemeClr val="dk1"/>
                          </a:solidFill>
                          <a:latin typeface="Arla InterFace"/>
                        </a:defRPr>
                      </a:lvl9pPr>
                    </a:lstStyle>
                    <a:p>
                      <a:pPr marL="72000" indent="-72000" algn="l"/>
                      <a:r>
                        <a:rPr lang="da-DK" sz="900" kern="1200" noProof="0" dirty="0">
                          <a:solidFill>
                            <a:schemeClr val="tx1"/>
                          </a:solidFill>
                          <a:latin typeface="Arla InterFace Light" panose="020B0403020203020304" pitchFamily="34" charset="0"/>
                          <a:ea typeface="+mn-ea"/>
                          <a:cs typeface="+mn-cs"/>
                        </a:rPr>
                        <a:t>F.eks. Løsningen skal gennemgå produktudvikling på ny, med ændringer der indeholder tilgængelige materialer  </a:t>
                      </a:r>
                    </a:p>
                  </a:txBody>
                  <a:tcPr marL="33231" marR="33231" marT="36000" marB="36000">
                    <a:lnL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363E42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937113209"/>
                  </a:ext>
                </a:extLst>
              </a:tr>
            </a:tbl>
          </a:graphicData>
        </a:graphic>
      </p:graphicFrame>
      <p:sp>
        <p:nvSpPr>
          <p:cNvPr id="85" name="Rectangle 18">
            <a:extLst>
              <a:ext uri="{FF2B5EF4-FFF2-40B4-BE49-F238E27FC236}">
                <a16:creationId xmlns:a16="http://schemas.microsoft.com/office/drawing/2014/main" id="{2392C220-FC41-4FA8-AE5D-4BFC327D91E7}"/>
              </a:ext>
            </a:extLst>
          </p:cNvPr>
          <p:cNvSpPr/>
          <p:nvPr/>
        </p:nvSpPr>
        <p:spPr>
          <a:xfrm>
            <a:off x="128245" y="2305923"/>
            <a:ext cx="336149" cy="322954"/>
          </a:xfrm>
          <a:prstGeom prst="rect">
            <a:avLst/>
          </a:prstGeom>
          <a:solidFill>
            <a:srgbClr val="0C3E65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LA STRONG" panose="00000500000000000000" pitchFamily="2" charset="0"/>
              </a:rPr>
              <a:t>V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STRONG" panose="00000500000000000000" pitchFamily="2" charset="0"/>
              <a:ea typeface="+mn-ea"/>
              <a:cs typeface="+mn-cs"/>
            </a:endParaRPr>
          </a:p>
        </p:txBody>
      </p:sp>
      <p:sp>
        <p:nvSpPr>
          <p:cNvPr id="86" name="Rectangle 18">
            <a:extLst>
              <a:ext uri="{FF2B5EF4-FFF2-40B4-BE49-F238E27FC236}">
                <a16:creationId xmlns:a16="http://schemas.microsoft.com/office/drawing/2014/main" id="{E01C1130-826D-4A93-A150-07D7B0DAE1C2}"/>
              </a:ext>
            </a:extLst>
          </p:cNvPr>
          <p:cNvSpPr/>
          <p:nvPr/>
        </p:nvSpPr>
        <p:spPr>
          <a:xfrm>
            <a:off x="7445606" y="2309473"/>
            <a:ext cx="336149" cy="322954"/>
          </a:xfrm>
          <a:prstGeom prst="rect">
            <a:avLst/>
          </a:prstGeom>
          <a:solidFill>
            <a:srgbClr val="7FAC84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LA STRONG" panose="00000500000000000000" pitchFamily="2" charset="0"/>
              </a:rPr>
              <a:t>A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STRONG" panose="00000500000000000000" pitchFamily="2" charset="0"/>
              <a:ea typeface="+mn-ea"/>
              <a:cs typeface="+mn-cs"/>
            </a:endParaRPr>
          </a:p>
        </p:txBody>
      </p:sp>
      <p:sp>
        <p:nvSpPr>
          <p:cNvPr id="88" name="TextBox 24">
            <a:extLst>
              <a:ext uri="{FF2B5EF4-FFF2-40B4-BE49-F238E27FC236}">
                <a16:creationId xmlns:a16="http://schemas.microsoft.com/office/drawing/2014/main" id="{9E5A4ECF-5CC1-4474-8094-907F8AA7E38C}"/>
              </a:ext>
            </a:extLst>
          </p:cNvPr>
          <p:cNvSpPr txBox="1"/>
          <p:nvPr/>
        </p:nvSpPr>
        <p:spPr>
          <a:xfrm>
            <a:off x="464394" y="2339046"/>
            <a:ext cx="1230933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  <a:defRPr/>
            </a:pPr>
            <a:r>
              <a:rPr kumimoji="0" lang="da-DK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Værdi for kunden</a:t>
            </a:r>
          </a:p>
        </p:txBody>
      </p:sp>
      <p:sp>
        <p:nvSpPr>
          <p:cNvPr id="89" name="TextBox 59">
            <a:extLst>
              <a:ext uri="{FF2B5EF4-FFF2-40B4-BE49-F238E27FC236}">
                <a16:creationId xmlns:a16="http://schemas.microsoft.com/office/drawing/2014/main" id="{A2FBA34A-A49A-4141-BE93-5FBBFB80F110}"/>
              </a:ext>
            </a:extLst>
          </p:cNvPr>
          <p:cNvSpPr txBox="1"/>
          <p:nvPr/>
        </p:nvSpPr>
        <p:spPr>
          <a:xfrm>
            <a:off x="7774037" y="2337839"/>
            <a:ext cx="250588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a-DK" sz="1200" b="1" dirty="0">
                <a:solidFill>
                  <a:prstClr val="black"/>
                </a:solidFill>
                <a:latin typeface="Arla InterFace Light" panose="020B0403020203020304" pitchFamily="34" charset="0"/>
              </a:rPr>
              <a:t>Attraktivitet</a:t>
            </a: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 for Arla </a:t>
            </a:r>
          </a:p>
        </p:txBody>
      </p:sp>
      <p:sp>
        <p:nvSpPr>
          <p:cNvPr id="51" name="Rectangle 17">
            <a:extLst>
              <a:ext uri="{FF2B5EF4-FFF2-40B4-BE49-F238E27FC236}">
                <a16:creationId xmlns:a16="http://schemas.microsoft.com/office/drawing/2014/main" id="{7CA38E20-A7D5-4B30-A377-472EE16CE36F}"/>
              </a:ext>
            </a:extLst>
          </p:cNvPr>
          <p:cNvSpPr/>
          <p:nvPr/>
        </p:nvSpPr>
        <p:spPr>
          <a:xfrm>
            <a:off x="6375162" y="790184"/>
            <a:ext cx="4022603" cy="291014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solidFill>
              <a:schemeClr val="tx1">
                <a:lumMod val="50000"/>
              </a:schemeClr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108000" rIns="108000" bIns="10800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Projektets/projektgruppens navn: </a:t>
            </a:r>
            <a:r>
              <a:rPr kumimoji="0" lang="da-DK" sz="1200" b="0" i="0" u="none" strike="noStrike" kern="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[Indsæt her]</a:t>
            </a:r>
            <a:endParaRPr kumimoji="0" lang="da-DK" sz="1200" b="1" i="0" u="none" strike="noStrike" kern="0" cap="none" spc="0" normalizeH="0" baseline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2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</p:txBody>
      </p:sp>
      <p:sp>
        <p:nvSpPr>
          <p:cNvPr id="37" name="Rectangle 12">
            <a:extLst>
              <a:ext uri="{FF2B5EF4-FFF2-40B4-BE49-F238E27FC236}">
                <a16:creationId xmlns:a16="http://schemas.microsoft.com/office/drawing/2014/main" id="{0FDF6FAC-E1C0-4B80-9A99-87326CE98A1A}"/>
              </a:ext>
            </a:extLst>
          </p:cNvPr>
          <p:cNvSpPr/>
          <p:nvPr/>
        </p:nvSpPr>
        <p:spPr>
          <a:xfrm>
            <a:off x="3778541" y="2300814"/>
            <a:ext cx="3564000" cy="4364906"/>
          </a:xfrm>
          <a:prstGeom prst="rect">
            <a:avLst/>
          </a:prstGeom>
          <a:noFill/>
          <a:ln w="28575" cap="flat" cmpd="sng" algn="ctr">
            <a:solidFill>
              <a:srgbClr val="EDA74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432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Giv en kort beskrivelse af  </a:t>
            </a: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hvordan eller hvorfor </a:t>
            </a: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de(t) givne koncepter</a:t>
            </a: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</a:rPr>
              <a:t>/resultater i har fundet på er innovativt og kreativt. Er det noget der allerede eksisterer, er det nyt for Arla, eller er det nyt for verden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1" u="none" strike="noStrike" kern="0" cap="none" spc="0" normalizeH="0" baseline="0" noProof="0" dirty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Hvor nyt er konceptet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noProof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Er det en kopi af noget som findes på markedet, er det inspireret af et andet produkt eller er det slet ikke set før?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1" u="none" strike="noStrike" kern="0" cap="none" spc="0" normalizeH="0" baseline="0" noProof="0" dirty="0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lang="da-DK" sz="1000" i="1" kern="0" dirty="0">
              <a:solidFill>
                <a:srgbClr val="363E42"/>
              </a:solidFill>
              <a:latin typeface="Arla InterFace Light" panose="020B04030202030203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da-DK" sz="1000" b="0" i="1" u="none" strike="noStrike" kern="0" cap="none" spc="0" normalizeH="0" baseline="0" noProof="0" dirty="0" err="1">
              <a:ln>
                <a:noFill/>
              </a:ln>
              <a:solidFill>
                <a:srgbClr val="363E42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</p:txBody>
      </p:sp>
      <p:sp>
        <p:nvSpPr>
          <p:cNvPr id="38" name="Rectangle 18">
            <a:extLst>
              <a:ext uri="{FF2B5EF4-FFF2-40B4-BE49-F238E27FC236}">
                <a16:creationId xmlns:a16="http://schemas.microsoft.com/office/drawing/2014/main" id="{E199F767-9F3D-4EEC-AC27-F2C2A4D85D19}"/>
              </a:ext>
            </a:extLst>
          </p:cNvPr>
          <p:cNvSpPr/>
          <p:nvPr/>
        </p:nvSpPr>
        <p:spPr>
          <a:xfrm>
            <a:off x="3785603" y="2305135"/>
            <a:ext cx="336149" cy="322954"/>
          </a:xfrm>
          <a:prstGeom prst="rect">
            <a:avLst/>
          </a:prstGeom>
          <a:solidFill>
            <a:srgbClr val="EDA74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lIns="72000" tIns="72000" rIns="72000" bIns="72000"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LA STRONG" panose="00000500000000000000" pitchFamily="2" charset="0"/>
              </a:rPr>
              <a:t>I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STRONG" panose="00000500000000000000" pitchFamily="2" charset="0"/>
              <a:ea typeface="+mn-ea"/>
              <a:cs typeface="+mn-cs"/>
            </a:endParaRPr>
          </a:p>
        </p:txBody>
      </p:sp>
      <p:sp>
        <p:nvSpPr>
          <p:cNvPr id="39" name="TextBox 24">
            <a:extLst>
              <a:ext uri="{FF2B5EF4-FFF2-40B4-BE49-F238E27FC236}">
                <a16:creationId xmlns:a16="http://schemas.microsoft.com/office/drawing/2014/main" id="{0266ED85-A84D-4D6E-9017-E6356F8B0F8E}"/>
              </a:ext>
            </a:extLst>
          </p:cNvPr>
          <p:cNvSpPr txBox="1"/>
          <p:nvPr/>
        </p:nvSpPr>
        <p:spPr>
          <a:xfrm>
            <a:off x="4121752" y="2329293"/>
            <a:ext cx="250808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Innovativt</a:t>
            </a:r>
          </a:p>
        </p:txBody>
      </p:sp>
      <p:sp>
        <p:nvSpPr>
          <p:cNvPr id="47" name="TextBox 46">
            <a:extLst>
              <a:ext uri="{FF2B5EF4-FFF2-40B4-BE49-F238E27FC236}">
                <a16:creationId xmlns:a16="http://schemas.microsoft.com/office/drawing/2014/main" id="{C782C4B0-15C9-48A3-A40A-354DEDCBBF45}"/>
              </a:ext>
            </a:extLst>
          </p:cNvPr>
          <p:cNvSpPr txBox="1"/>
          <p:nvPr/>
        </p:nvSpPr>
        <p:spPr>
          <a:xfrm>
            <a:off x="2909812" y="2351357"/>
            <a:ext cx="746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tx2"/>
                </a:solidFill>
                <a:latin typeface="Arla InterFace Condensed" panose="020F0603020203020204" pitchFamily="34" charset="0"/>
                <a:cs typeface="72 Condensed" panose="020B0506030000000003" pitchFamily="34" charset="0"/>
              </a:rPr>
              <a:t>VÆGTER 30%</a:t>
            </a:r>
          </a:p>
        </p:txBody>
      </p:sp>
      <p:sp>
        <p:nvSpPr>
          <p:cNvPr id="48" name="TextBox 47">
            <a:extLst>
              <a:ext uri="{FF2B5EF4-FFF2-40B4-BE49-F238E27FC236}">
                <a16:creationId xmlns:a16="http://schemas.microsoft.com/office/drawing/2014/main" id="{70A5D027-FD28-4F58-9C94-922AD0A21BE2}"/>
              </a:ext>
            </a:extLst>
          </p:cNvPr>
          <p:cNvSpPr txBox="1"/>
          <p:nvPr/>
        </p:nvSpPr>
        <p:spPr>
          <a:xfrm>
            <a:off x="6603279" y="2314436"/>
            <a:ext cx="746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accent6"/>
                </a:solidFill>
                <a:latin typeface="Arla InterFace Condensed" panose="020F0603020203020204" pitchFamily="34" charset="0"/>
                <a:cs typeface="72 Condensed" panose="020B0506030000000003" pitchFamily="34" charset="0"/>
              </a:rPr>
              <a:t>VÆGTER 30%</a:t>
            </a:r>
          </a:p>
        </p:txBody>
      </p:sp>
      <p:sp>
        <p:nvSpPr>
          <p:cNvPr id="49" name="TextBox 48">
            <a:extLst>
              <a:ext uri="{FF2B5EF4-FFF2-40B4-BE49-F238E27FC236}">
                <a16:creationId xmlns:a16="http://schemas.microsoft.com/office/drawing/2014/main" id="{29B94A12-CE67-4906-AD28-D2C9E1CB8051}"/>
              </a:ext>
            </a:extLst>
          </p:cNvPr>
          <p:cNvSpPr txBox="1"/>
          <p:nvPr/>
        </p:nvSpPr>
        <p:spPr>
          <a:xfrm>
            <a:off x="10216523" y="2343994"/>
            <a:ext cx="746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accent3">
                    <a:lumMod val="75000"/>
                  </a:schemeClr>
                </a:solidFill>
                <a:latin typeface="Arla InterFace Condensed" panose="020F0603020203020204" pitchFamily="34" charset="0"/>
                <a:cs typeface="72 Condensed" panose="020B0506030000000003" pitchFamily="34" charset="0"/>
              </a:rPr>
              <a:t>VÆGTER 15%</a:t>
            </a:r>
          </a:p>
        </p:txBody>
      </p:sp>
      <p:sp>
        <p:nvSpPr>
          <p:cNvPr id="52" name="Rectangle 15">
            <a:extLst>
              <a:ext uri="{FF2B5EF4-FFF2-40B4-BE49-F238E27FC236}">
                <a16:creationId xmlns:a16="http://schemas.microsoft.com/office/drawing/2014/main" id="{5D0650FE-2CAE-4EF2-BE19-9852E80E14CB}"/>
              </a:ext>
            </a:extLst>
          </p:cNvPr>
          <p:cNvSpPr/>
          <p:nvPr/>
        </p:nvSpPr>
        <p:spPr>
          <a:xfrm>
            <a:off x="7431902" y="4521757"/>
            <a:ext cx="3564000" cy="2139988"/>
          </a:xfrm>
          <a:prstGeom prst="rect">
            <a:avLst/>
          </a:prstGeom>
          <a:noFill/>
          <a:ln w="28575" cap="flat" cmpd="sng" algn="ctr">
            <a:solidFill>
              <a:srgbClr val="F6CB00"/>
            </a:solidFill>
            <a:prstDash val="solid"/>
            <a:miter lim="800000"/>
          </a:ln>
          <a:effectLst/>
        </p:spPr>
        <p:txBody>
          <a:bodyPr rot="0" spcFirstLastPara="0" vertOverflow="overflow" horzOverflow="overflow" vert="horz" wrap="square" lIns="108000" tIns="432000" rIns="108000" bIns="108000" numCol="1" spcCol="0" rtlCol="0" fromWordArt="0" anchor="t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000" b="0" i="1" u="none" strike="noStrike" kern="0" cap="none" spc="0" normalizeH="0" baseline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Arial" pitchFamily="34" charset="0"/>
              </a:rPr>
              <a:t>Beskriv de centrale kompetencer og ressourcer der er nødvendige for at </a:t>
            </a:r>
            <a:r>
              <a:rPr lang="da-DK" sz="1000" i="1" kern="0" dirty="0">
                <a:solidFill>
                  <a:srgbClr val="363E42"/>
                </a:solidFill>
                <a:latin typeface="Arla InterFace Light" panose="020B0403020203020304" pitchFamily="34" charset="0"/>
                <a:cs typeface="Arial" pitchFamily="34" charset="0"/>
              </a:rPr>
              <a:t>konceptet</a:t>
            </a:r>
            <a:r>
              <a:rPr kumimoji="0" lang="da-DK" sz="1000" b="0" i="1" u="none" strike="noStrike" kern="0" cap="none" spc="0" normalizeH="0" baseline="0" dirty="0">
                <a:ln>
                  <a:noFill/>
                </a:ln>
                <a:solidFill>
                  <a:srgbClr val="363E42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Arial" pitchFamily="34" charset="0"/>
              </a:rPr>
              <a:t> lykkedes.</a:t>
            </a: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1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</a:endParaRPr>
          </a:p>
          <a:p>
            <a:r>
              <a:rPr lang="da-DK" sz="1000" i="1" dirty="0">
                <a:latin typeface="Arla InterFace Light" panose="020B0403020203020304" pitchFamily="34" charset="0"/>
                <a:ea typeface="SimSun"/>
                <a:cs typeface="Times New Roman"/>
              </a:rPr>
              <a:t>Med jeres kendskab til Arla og Arlas produkter, hvor nemt vil det så være for Arla at producere konceptet og få det på markedet?</a:t>
            </a:r>
          </a:p>
          <a:p>
            <a:r>
              <a:rPr lang="da-DK" sz="1000" i="1" dirty="0">
                <a:latin typeface="Arla InterFace Light" panose="020B0403020203020304" pitchFamily="34" charset="0"/>
                <a:ea typeface="SimSun"/>
                <a:cs typeface="Times New Roman"/>
              </a:rPr>
              <a:t>Skal der f.eks. købes nyt udstyr og er det nogle helt nye råvarer? </a:t>
            </a:r>
            <a:endParaRPr lang="da-DK" sz="900" i="1" dirty="0">
              <a:latin typeface="Arla InterFace Light" panose="020B0403020203020304" pitchFamily="34" charset="0"/>
              <a:ea typeface="SimSun"/>
              <a:cs typeface="Times New Roman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ct val="200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Arial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GB" sz="10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InterFace Light" panose="020B0403020203020304" pitchFamily="34" charset="0"/>
              <a:ea typeface="+mn-ea"/>
              <a:cs typeface="+mn-cs"/>
            </a:endParaRPr>
          </a:p>
        </p:txBody>
      </p:sp>
      <p:sp>
        <p:nvSpPr>
          <p:cNvPr id="53" name="Rectangle 18">
            <a:extLst>
              <a:ext uri="{FF2B5EF4-FFF2-40B4-BE49-F238E27FC236}">
                <a16:creationId xmlns:a16="http://schemas.microsoft.com/office/drawing/2014/main" id="{3E93703B-A36D-4011-9EDD-7BFCF6AF9638}"/>
              </a:ext>
            </a:extLst>
          </p:cNvPr>
          <p:cNvSpPr/>
          <p:nvPr/>
        </p:nvSpPr>
        <p:spPr>
          <a:xfrm>
            <a:off x="7425878" y="4517797"/>
            <a:ext cx="336149" cy="322954"/>
          </a:xfrm>
          <a:prstGeom prst="rect">
            <a:avLst/>
          </a:prstGeom>
          <a:solidFill>
            <a:srgbClr val="F6CB00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kern="0" dirty="0">
                <a:solidFill>
                  <a:prstClr val="white"/>
                </a:solidFill>
                <a:latin typeface="ARLA STRONG" panose="00000500000000000000" pitchFamily="2" charset="0"/>
              </a:rPr>
              <a:t>M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LA STRONG" panose="00000500000000000000" pitchFamily="2" charset="0"/>
              <a:ea typeface="+mn-ea"/>
              <a:cs typeface="+mn-cs"/>
            </a:endParaRPr>
          </a:p>
        </p:txBody>
      </p:sp>
      <p:sp>
        <p:nvSpPr>
          <p:cNvPr id="54" name="TextBox 60">
            <a:extLst>
              <a:ext uri="{FF2B5EF4-FFF2-40B4-BE49-F238E27FC236}">
                <a16:creationId xmlns:a16="http://schemas.microsoft.com/office/drawing/2014/main" id="{6B4517E1-FD93-4692-9166-B2DFAA38964D}"/>
              </a:ext>
            </a:extLst>
          </p:cNvPr>
          <p:cNvSpPr txBox="1"/>
          <p:nvPr/>
        </p:nvSpPr>
        <p:spPr>
          <a:xfrm>
            <a:off x="7757054" y="4558259"/>
            <a:ext cx="2508084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da-DK" sz="1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la InterFace Light" panose="020B0403020203020304" pitchFamily="34" charset="0"/>
                <a:ea typeface="+mn-ea"/>
                <a:cs typeface="+mn-cs"/>
              </a:rPr>
              <a:t>Muligt for Arla</a:t>
            </a:r>
          </a:p>
        </p:txBody>
      </p:sp>
      <p:sp>
        <p:nvSpPr>
          <p:cNvPr id="55" name="TextBox 54">
            <a:extLst>
              <a:ext uri="{FF2B5EF4-FFF2-40B4-BE49-F238E27FC236}">
                <a16:creationId xmlns:a16="http://schemas.microsoft.com/office/drawing/2014/main" id="{9EFE8270-03AE-4BAD-84A3-CD60B0F42FFA}"/>
              </a:ext>
            </a:extLst>
          </p:cNvPr>
          <p:cNvSpPr txBox="1"/>
          <p:nvPr/>
        </p:nvSpPr>
        <p:spPr>
          <a:xfrm>
            <a:off x="10216561" y="4556388"/>
            <a:ext cx="746324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a-DK" sz="1000" dirty="0">
                <a:solidFill>
                  <a:schemeClr val="accent5"/>
                </a:solidFill>
                <a:latin typeface="Arla InterFace Condensed" panose="020F0603020203020204" pitchFamily="34" charset="0"/>
                <a:cs typeface="72 Condensed" panose="020B0506030000000003" pitchFamily="34" charset="0"/>
              </a:rPr>
              <a:t>VÆGTER 15%</a:t>
            </a:r>
          </a:p>
        </p:txBody>
      </p:sp>
    </p:spTree>
    <p:extLst>
      <p:ext uri="{BB962C8B-B14F-4D97-AF65-F5344CB8AC3E}">
        <p14:creationId xmlns:p14="http://schemas.microsoft.com/office/powerpoint/2010/main" val="168273789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Arla 2019">
  <a:themeElements>
    <a:clrScheme name="Arla">
      <a:dk1>
        <a:srgbClr val="3F4542"/>
      </a:dk1>
      <a:lt1>
        <a:srgbClr val="FFFFFF"/>
      </a:lt1>
      <a:dk2>
        <a:srgbClr val="0C3E65"/>
      </a:dk2>
      <a:lt2>
        <a:srgbClr val="95BFE6"/>
      </a:lt2>
      <a:accent1>
        <a:srgbClr val="136132"/>
      </a:accent1>
      <a:accent2>
        <a:srgbClr val="5A9A61"/>
      </a:accent2>
      <a:accent3>
        <a:srgbClr val="BBD3BE"/>
      </a:accent3>
      <a:accent4>
        <a:srgbClr val="9DB86C"/>
      </a:accent4>
      <a:accent5>
        <a:srgbClr val="F6CB00"/>
      </a:accent5>
      <a:accent6>
        <a:srgbClr val="EDA740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 2007-2010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custClrLst>
    <a:custClr name="Custom Color 1">
      <a:srgbClr val="C3D2A9"/>
    </a:custClr>
    <a:custClr name="Custom Color 2">
      <a:srgbClr val="DCE6DE"/>
    </a:custClr>
    <a:custClr name="Custom Color 3">
      <a:srgbClr val="F7D38F"/>
    </a:custClr>
    <a:custClr name="Custom Color 4">
      <a:srgbClr val="FFE9BB"/>
    </a:custClr>
    <a:custClr name="Custom Color 5">
      <a:srgbClr val="117293"/>
    </a:custClr>
    <a:custClr name="Custom Color 6">
      <a:srgbClr val="D6E9F8"/>
    </a:custClr>
    <a:custClr name="Custom Color 7">
      <a:srgbClr val="AC4D3C"/>
    </a:custClr>
    <a:custClr name="Custom Color 8">
      <a:srgbClr val="C79D9F"/>
    </a:custClr>
    <a:custClr name="Custom Color 9">
      <a:srgbClr val="D3CCC2"/>
    </a:custClr>
    <a:custClr name="Custom Color 10">
      <a:srgbClr val="E9E3E3"/>
    </a:custClr>
    <a:custClr name="Custom Color 11">
      <a:srgbClr val="F7F6F4"/>
    </a:custClr>
  </a:custClrLst>
  <a:extLst>
    <a:ext uri="{05A4C25C-085E-4340-85A3-A5531E510DB2}">
      <thm15:themeFamily xmlns:thm15="http://schemas.microsoft.com/office/thememl/2012/main" name="Arla Template Feb20" id="{4948882C-09D5-4D44-B77A-E59F848A939F}" vid="{C37D5062-2006-AE4F-8903-43F73800CFC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a5f7bbc9-561e-4023-936f-d11a0747cd86" xsi:nil="true"/>
    <lcf76f155ced4ddcb4097134ff3c332f xmlns="b5bbea07-ed14-41b0-85e8-0385e5f06be3">
      <Terms xmlns="http://schemas.microsoft.com/office/infopath/2007/PartnerControls"/>
    </lcf76f155ced4ddcb4097134ff3c332f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16E85970E9D71C4090CE35DF4EA0262B" ma:contentTypeVersion="16" ma:contentTypeDescription="Opret et nyt dokument." ma:contentTypeScope="" ma:versionID="8ab9717a051c481cfe5a63544752c8a3">
  <xsd:schema xmlns:xsd="http://www.w3.org/2001/XMLSchema" xmlns:xs="http://www.w3.org/2001/XMLSchema" xmlns:p="http://schemas.microsoft.com/office/2006/metadata/properties" xmlns:ns2="b5bbea07-ed14-41b0-85e8-0385e5f06be3" xmlns:ns3="a5f7bbc9-561e-4023-936f-d11a0747cd86" targetNamespace="http://schemas.microsoft.com/office/2006/metadata/properties" ma:root="true" ma:fieldsID="628444d8684d36e629fd3710677caeaa" ns2:_="" ns3:_="">
    <xsd:import namespace="b5bbea07-ed14-41b0-85e8-0385e5f06be3"/>
    <xsd:import namespace="a5f7bbc9-561e-4023-936f-d11a0747cd86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5bbea07-ed14-41b0-85e8-0385e5f06be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AutoTags" ma:index="14" nillable="true" ma:displayName="Tags" ma:internalName="MediaServiceAutoTags" ma:readOnly="true">
      <xsd:simpleType>
        <xsd:restriction base="dms:Text"/>
      </xsd:simpleType>
    </xsd:element>
    <xsd:element name="MediaServiceOCR" ma:index="15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6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7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8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9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21" nillable="true" ma:taxonomy="true" ma:internalName="lcf76f155ced4ddcb4097134ff3c332f" ma:taxonomyFieldName="MediaServiceImageTags" ma:displayName="Billedmærker" ma:readOnly="false" ma:fieldId="{5cf76f15-5ced-4ddc-b409-7134ff3c332f}" ma:taxonomyMulti="true" ma:sspId="7cf51148-d4f0-467b-8af6-adc5aad14803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3" nillable="true" ma:displayName="Location" ma:indexed="true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a5f7bbc9-561e-4023-936f-d11a0747cd86" elementFormDefault="qualified">
    <xsd:import namespace="http://schemas.microsoft.com/office/2006/documentManagement/types"/>
    <xsd:import namespace="http://schemas.microsoft.com/office/infopath/2007/PartnerControls"/>
    <xsd:element name="SharedWithUsers" ma:index="12" nillable="true" ma:displayName="Delt med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3" nillable="true" ma:displayName="Delt med detaljer" ma:internalName="SharedWithDetails" ma:readOnly="true">
      <xsd:simpleType>
        <xsd:restriction base="dms:Note">
          <xsd:maxLength value="255"/>
        </xsd:restriction>
      </xsd:simpleType>
    </xsd:element>
    <xsd:element name="TaxCatchAll" ma:index="22" nillable="true" ma:displayName="Taxonomy Catch All Column" ma:hidden="true" ma:list="{c2a49898-6bfc-4854-8338-ea76aa498ade}" ma:internalName="TaxCatchAll" ma:showField="CatchAllData" ma:web="a5f7bbc9-561e-4023-936f-d11a0747cd86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dholdstype"/>
        <xsd:element ref="dc:title" minOccurs="0" maxOccurs="1" ma:index="4" ma:displayName="Ti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44E09B7E-F3BA-4ED6-A100-14DC9BA51E0B}">
  <ds:schemaRefs>
    <ds:schemaRef ds:uri="http://schemas.microsoft.com/office/2006/documentManagement/types"/>
    <ds:schemaRef ds:uri="http://schemas.microsoft.com/office/2006/metadata/properties"/>
    <ds:schemaRef ds:uri="http://purl.org/dc/elements/1.1/"/>
    <ds:schemaRef ds:uri="http://schemas.openxmlformats.org/package/2006/metadata/core-properties"/>
    <ds:schemaRef ds:uri="a5f7bbc9-561e-4023-936f-d11a0747cd86"/>
    <ds:schemaRef ds:uri="http://schemas.microsoft.com/office/infopath/2007/PartnerControls"/>
    <ds:schemaRef ds:uri="http://purl.org/dc/terms/"/>
    <ds:schemaRef ds:uri="b5bbea07-ed14-41b0-85e8-0385e5f06be3"/>
    <ds:schemaRef ds:uri="http://www.w3.org/XML/1998/namespace"/>
    <ds:schemaRef ds:uri="http://purl.org/dc/dcmitype/"/>
  </ds:schemaRefs>
</ds:datastoreItem>
</file>

<file path=customXml/itemProps2.xml><?xml version="1.0" encoding="utf-8"?>
<ds:datastoreItem xmlns:ds="http://schemas.openxmlformats.org/officeDocument/2006/customXml" ds:itemID="{310CE7B8-5C08-4BD2-9138-FF7EE055FA73}"/>
</file>

<file path=customXml/itemProps3.xml><?xml version="1.0" encoding="utf-8"?>
<ds:datastoreItem xmlns:ds="http://schemas.openxmlformats.org/officeDocument/2006/customXml" ds:itemID="{9180E3C2-1A01-4368-B06E-7E2EA050DB68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blank</Template>
  <TotalTime>0</TotalTime>
  <Words>363</Words>
  <Application>Microsoft Office PowerPoint</Application>
  <PresentationFormat>Widescreen</PresentationFormat>
  <Paragraphs>4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9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2" baseType="lpstr">
      <vt:lpstr>System Font</vt:lpstr>
      <vt:lpstr>Arial</vt:lpstr>
      <vt:lpstr>Arla InterFace</vt:lpstr>
      <vt:lpstr>Arla InterFace Condensed</vt:lpstr>
      <vt:lpstr>Arla InterFace Light</vt:lpstr>
      <vt:lpstr>Arla InterFace W</vt:lpstr>
      <vt:lpstr>ARLA STRONG</vt:lpstr>
      <vt:lpstr>ARLA-Human-Bold</vt:lpstr>
      <vt:lpstr>Calibri</vt:lpstr>
      <vt:lpstr>1_Arla 2019</vt:lpstr>
      <vt:lpstr>think-cell Slide</vt:lpstr>
      <vt:lpstr>PowerPoint Presentation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æsentation</dc:title>
  <dc:creator>Julia Niemann Christensen</dc:creator>
  <cp:lastModifiedBy>Annika Vognstrup Jakobsen</cp:lastModifiedBy>
  <cp:revision>4</cp:revision>
  <dcterms:created xsi:type="dcterms:W3CDTF">2022-04-13T13:03:23Z</dcterms:created>
  <dcterms:modified xsi:type="dcterms:W3CDTF">2022-11-01T10:23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16E85970E9D71C4090CE35DF4EA0262B</vt:lpwstr>
  </property>
  <property fmtid="{D5CDD505-2E9C-101B-9397-08002B2CF9AE}" pid="3" name="MediaServiceImageTags">
    <vt:lpwstr/>
  </property>
</Properties>
</file>